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 id="2147484144" r:id="rId5"/>
    <p:sldMasterId id="2147483899" r:id="rId6"/>
  </p:sldMasterIdLst>
  <p:notesMasterIdLst>
    <p:notesMasterId r:id="rId29"/>
  </p:notesMasterIdLst>
  <p:handoutMasterIdLst>
    <p:handoutMasterId r:id="rId30"/>
  </p:handoutMasterIdLst>
  <p:sldIdLst>
    <p:sldId id="2145706653" r:id="rId7"/>
    <p:sldId id="2145706677" r:id="rId8"/>
    <p:sldId id="2145706679" r:id="rId9"/>
    <p:sldId id="2145706680" r:id="rId10"/>
    <p:sldId id="2145706722" r:id="rId11"/>
    <p:sldId id="2145706692" r:id="rId12"/>
    <p:sldId id="2145706693" r:id="rId13"/>
    <p:sldId id="2145706723" r:id="rId14"/>
    <p:sldId id="2145706698" r:id="rId15"/>
    <p:sldId id="2145706700" r:id="rId16"/>
    <p:sldId id="2145706724" r:id="rId17"/>
    <p:sldId id="2145706705" r:id="rId18"/>
    <p:sldId id="2145706706" r:id="rId19"/>
    <p:sldId id="2145706711" r:id="rId20"/>
    <p:sldId id="2145706712" r:id="rId21"/>
    <p:sldId id="2145706713" r:id="rId22"/>
    <p:sldId id="2145706721" r:id="rId23"/>
    <p:sldId id="2145706720" r:id="rId24"/>
    <p:sldId id="2145706686" r:id="rId25"/>
    <p:sldId id="2145706687" r:id="rId26"/>
    <p:sldId id="1041" r:id="rId27"/>
    <p:sldId id="2145706627" r:id="rId28"/>
  </p:sldIdLst>
  <p:sldSz cx="12192000" cy="6858000"/>
  <p:notesSz cx="6858000" cy="9144000"/>
  <p:embeddedFontLst>
    <p:embeddedFont>
      <p:font typeface="Ubuntu" panose="020B0504030602030204" pitchFamily="34" charset="0"/>
      <p:regular r:id="rId31"/>
      <p:bold r:id="rId32"/>
      <p:italic r:id="rId33"/>
      <p:boldItalic r:id="rId34"/>
    </p:embeddedFont>
    <p:embeddedFont>
      <p:font typeface="Ubuntu Light" panose="020B0304030602030204" pitchFamily="34" charset="0"/>
      <p:regular r:id="rId35"/>
      <p:italic r:id="rId36"/>
    </p:embeddedFont>
    <p:embeddedFont>
      <p:font typeface="Ubuntu Medium" panose="020B0604030602030204" pitchFamily="34" charset="0"/>
      <p:regular r:id="rId37"/>
      <p:italic r:id="rId38"/>
    </p:embeddedFont>
  </p:embeddedFontLst>
  <p:custDataLst>
    <p:tags r:id="rId3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12ABDB"/>
    <a:srgbClr val="78B1EB"/>
    <a:srgbClr val="F0FAFC"/>
    <a:srgbClr val="0070AD"/>
    <a:srgbClr val="704848"/>
    <a:srgbClr val="0D0D0D"/>
    <a:srgbClr val="FCCCCD"/>
    <a:srgbClr val="FFFFFF"/>
    <a:srgbClr val="F57F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font" Target="fonts/font4.fntdata"/><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6.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3.fntdata"/><Relationship Id="rId38"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E94700-128A-451A-88DE-0CE57FBA37B8}" type="doc">
      <dgm:prSet loTypeId="urn:microsoft.com/office/officeart/2005/8/layout/list1" loCatId="list" qsTypeId="urn:microsoft.com/office/officeart/2005/8/quickstyle/simple4" qsCatId="simple" csTypeId="urn:microsoft.com/office/officeart/2005/8/colors/accent1_2" csCatId="accent1"/>
      <dgm:spPr/>
      <dgm:t>
        <a:bodyPr/>
        <a:lstStyle/>
        <a:p>
          <a:endParaRPr lang="en-US"/>
        </a:p>
      </dgm:t>
    </dgm:pt>
    <dgm:pt modelId="{1DEFF086-910D-4DFC-A402-4092057066E6}">
      <dgm:prSet/>
      <dgm:spPr/>
      <dgm:t>
        <a:bodyPr/>
        <a:lstStyle/>
        <a:p>
          <a:r>
            <a:rPr lang="en-IN"/>
            <a:t>System Architecture Overview</a:t>
          </a:r>
          <a:endParaRPr lang="en-US"/>
        </a:p>
      </dgm:t>
    </dgm:pt>
    <dgm:pt modelId="{480CF466-CA73-4E70-B0D4-6A154B98497D}" type="parTrans" cxnId="{FE98B002-7217-4F97-97B6-397B515C97E0}">
      <dgm:prSet/>
      <dgm:spPr/>
      <dgm:t>
        <a:bodyPr/>
        <a:lstStyle/>
        <a:p>
          <a:endParaRPr lang="en-US"/>
        </a:p>
      </dgm:t>
    </dgm:pt>
    <dgm:pt modelId="{D63689AC-8E0F-4832-8235-9CFA4605920F}" type="sibTrans" cxnId="{FE98B002-7217-4F97-97B6-397B515C97E0}">
      <dgm:prSet/>
      <dgm:spPr/>
      <dgm:t>
        <a:bodyPr/>
        <a:lstStyle/>
        <a:p>
          <a:endParaRPr lang="en-US"/>
        </a:p>
      </dgm:t>
    </dgm:pt>
    <dgm:pt modelId="{9CE585AB-432C-474B-A92D-FEA6374C5028}">
      <dgm:prSet/>
      <dgm:spPr/>
      <dgm:t>
        <a:bodyPr/>
        <a:lstStyle/>
        <a:p>
          <a:r>
            <a:rPr lang="en-IN"/>
            <a:t>Document Processing Pipeline</a:t>
          </a:r>
          <a:endParaRPr lang="en-US"/>
        </a:p>
      </dgm:t>
    </dgm:pt>
    <dgm:pt modelId="{14C769F7-A509-4D95-A551-F955E01DCB8C}" type="parTrans" cxnId="{C56A2833-9118-4195-BFAB-8E72ACEBB88D}">
      <dgm:prSet/>
      <dgm:spPr/>
      <dgm:t>
        <a:bodyPr/>
        <a:lstStyle/>
        <a:p>
          <a:endParaRPr lang="en-US"/>
        </a:p>
      </dgm:t>
    </dgm:pt>
    <dgm:pt modelId="{25C45F45-0574-4F3E-812E-8A072349E254}" type="sibTrans" cxnId="{C56A2833-9118-4195-BFAB-8E72ACEBB88D}">
      <dgm:prSet/>
      <dgm:spPr/>
      <dgm:t>
        <a:bodyPr/>
        <a:lstStyle/>
        <a:p>
          <a:endParaRPr lang="en-US"/>
        </a:p>
      </dgm:t>
    </dgm:pt>
    <dgm:pt modelId="{27DD6CA6-D10E-4E9C-9286-BC299DD55EEC}">
      <dgm:prSet/>
      <dgm:spPr/>
      <dgm:t>
        <a:bodyPr/>
        <a:lstStyle/>
        <a:p>
          <a:r>
            <a:rPr lang="en-IN"/>
            <a:t>Embedding Models Comparison</a:t>
          </a:r>
          <a:endParaRPr lang="en-US"/>
        </a:p>
      </dgm:t>
    </dgm:pt>
    <dgm:pt modelId="{1927DF54-63CE-4A50-B6C8-9C3AD50FEE61}" type="parTrans" cxnId="{5E6831AC-FFE6-4F2A-A7DE-77A4ACF33375}">
      <dgm:prSet/>
      <dgm:spPr/>
      <dgm:t>
        <a:bodyPr/>
        <a:lstStyle/>
        <a:p>
          <a:endParaRPr lang="en-US"/>
        </a:p>
      </dgm:t>
    </dgm:pt>
    <dgm:pt modelId="{7730E77C-004B-489D-9680-059D04A29660}" type="sibTrans" cxnId="{5E6831AC-FFE6-4F2A-A7DE-77A4ACF33375}">
      <dgm:prSet/>
      <dgm:spPr/>
      <dgm:t>
        <a:bodyPr/>
        <a:lstStyle/>
        <a:p>
          <a:endParaRPr lang="en-US"/>
        </a:p>
      </dgm:t>
    </dgm:pt>
    <dgm:pt modelId="{63CCFD42-6470-40E5-82AC-F7414000B570}">
      <dgm:prSet/>
      <dgm:spPr/>
      <dgm:t>
        <a:bodyPr/>
        <a:lstStyle/>
        <a:p>
          <a:r>
            <a:rPr lang="en-IN"/>
            <a:t>Vector Storage Solutions</a:t>
          </a:r>
          <a:endParaRPr lang="en-US"/>
        </a:p>
      </dgm:t>
    </dgm:pt>
    <dgm:pt modelId="{36B29947-FA9D-4168-9622-548A1EF1EA5D}" type="parTrans" cxnId="{96C8B056-1360-49EC-ADE0-5FC39936F45D}">
      <dgm:prSet/>
      <dgm:spPr/>
      <dgm:t>
        <a:bodyPr/>
        <a:lstStyle/>
        <a:p>
          <a:endParaRPr lang="en-US"/>
        </a:p>
      </dgm:t>
    </dgm:pt>
    <dgm:pt modelId="{604C94E3-3CE7-47FE-83DB-6C71E6DD30CE}" type="sibTrans" cxnId="{96C8B056-1360-49EC-ADE0-5FC39936F45D}">
      <dgm:prSet/>
      <dgm:spPr/>
      <dgm:t>
        <a:bodyPr/>
        <a:lstStyle/>
        <a:p>
          <a:endParaRPr lang="en-US"/>
        </a:p>
      </dgm:t>
    </dgm:pt>
    <dgm:pt modelId="{8D13BCA8-E77A-45B5-A285-E4C7190BCFD2}">
      <dgm:prSet/>
      <dgm:spPr/>
      <dgm:t>
        <a:bodyPr/>
        <a:lstStyle/>
        <a:p>
          <a:r>
            <a:rPr lang="en-IN"/>
            <a:t>Vector Search Algorithms</a:t>
          </a:r>
          <a:endParaRPr lang="en-US"/>
        </a:p>
      </dgm:t>
    </dgm:pt>
    <dgm:pt modelId="{084C2C00-79DF-4FBF-AB94-8221A11EAA70}" type="parTrans" cxnId="{0811FBD2-2357-4EAD-A7C2-622A29005B24}">
      <dgm:prSet/>
      <dgm:spPr/>
      <dgm:t>
        <a:bodyPr/>
        <a:lstStyle/>
        <a:p>
          <a:endParaRPr lang="en-US"/>
        </a:p>
      </dgm:t>
    </dgm:pt>
    <dgm:pt modelId="{47E931A7-B674-4A7D-B0F5-EB572E5BE337}" type="sibTrans" cxnId="{0811FBD2-2357-4EAD-A7C2-622A29005B24}">
      <dgm:prSet/>
      <dgm:spPr/>
      <dgm:t>
        <a:bodyPr/>
        <a:lstStyle/>
        <a:p>
          <a:endParaRPr lang="en-US"/>
        </a:p>
      </dgm:t>
    </dgm:pt>
    <dgm:pt modelId="{9CC74014-CFB9-4E0E-AEC5-AEFE8FABAEC4}">
      <dgm:prSet/>
      <dgm:spPr/>
      <dgm:t>
        <a:bodyPr/>
        <a:lstStyle/>
        <a:p>
          <a:r>
            <a:rPr lang="en-IN"/>
            <a:t>RAG Implementation Types</a:t>
          </a:r>
          <a:endParaRPr lang="en-US"/>
        </a:p>
      </dgm:t>
    </dgm:pt>
    <dgm:pt modelId="{62131534-14E9-4FC7-9AD2-A23F4FD6677C}" type="parTrans" cxnId="{1E0B8D7D-FA08-42FE-8DC1-1F0EA7A53DA5}">
      <dgm:prSet/>
      <dgm:spPr/>
      <dgm:t>
        <a:bodyPr/>
        <a:lstStyle/>
        <a:p>
          <a:endParaRPr lang="en-US"/>
        </a:p>
      </dgm:t>
    </dgm:pt>
    <dgm:pt modelId="{425E4CAE-7970-4104-88BF-9C9AEC89E6F2}" type="sibTrans" cxnId="{1E0B8D7D-FA08-42FE-8DC1-1F0EA7A53DA5}">
      <dgm:prSet/>
      <dgm:spPr/>
      <dgm:t>
        <a:bodyPr/>
        <a:lstStyle/>
        <a:p>
          <a:endParaRPr lang="en-US"/>
        </a:p>
      </dgm:t>
    </dgm:pt>
    <dgm:pt modelId="{FD1FAF6A-D6BF-4DFD-B8E0-2503CB5F4756}" type="pres">
      <dgm:prSet presAssocID="{D5E94700-128A-451A-88DE-0CE57FBA37B8}" presName="linear" presStyleCnt="0">
        <dgm:presLayoutVars>
          <dgm:dir/>
          <dgm:animLvl val="lvl"/>
          <dgm:resizeHandles val="exact"/>
        </dgm:presLayoutVars>
      </dgm:prSet>
      <dgm:spPr/>
    </dgm:pt>
    <dgm:pt modelId="{A24B3B34-BE70-4F2D-B079-6085A26E7522}" type="pres">
      <dgm:prSet presAssocID="{1DEFF086-910D-4DFC-A402-4092057066E6}" presName="parentLin" presStyleCnt="0"/>
      <dgm:spPr/>
    </dgm:pt>
    <dgm:pt modelId="{51DE0A18-E2D2-4F38-8D1B-4F2D59EB1C3A}" type="pres">
      <dgm:prSet presAssocID="{1DEFF086-910D-4DFC-A402-4092057066E6}" presName="parentLeftMargin" presStyleLbl="node1" presStyleIdx="0" presStyleCnt="6"/>
      <dgm:spPr/>
    </dgm:pt>
    <dgm:pt modelId="{0A6B007B-CFBC-4B80-820D-865D456B48AA}" type="pres">
      <dgm:prSet presAssocID="{1DEFF086-910D-4DFC-A402-4092057066E6}" presName="parentText" presStyleLbl="node1" presStyleIdx="0" presStyleCnt="6">
        <dgm:presLayoutVars>
          <dgm:chMax val="0"/>
          <dgm:bulletEnabled val="1"/>
        </dgm:presLayoutVars>
      </dgm:prSet>
      <dgm:spPr/>
    </dgm:pt>
    <dgm:pt modelId="{C482B2C2-45A7-4491-B9C9-33E099DB9069}" type="pres">
      <dgm:prSet presAssocID="{1DEFF086-910D-4DFC-A402-4092057066E6}" presName="negativeSpace" presStyleCnt="0"/>
      <dgm:spPr/>
    </dgm:pt>
    <dgm:pt modelId="{DB2D5C81-2392-492B-BC07-A310BE163726}" type="pres">
      <dgm:prSet presAssocID="{1DEFF086-910D-4DFC-A402-4092057066E6}" presName="childText" presStyleLbl="conFgAcc1" presStyleIdx="0" presStyleCnt="6">
        <dgm:presLayoutVars>
          <dgm:bulletEnabled val="1"/>
        </dgm:presLayoutVars>
      </dgm:prSet>
      <dgm:spPr/>
    </dgm:pt>
    <dgm:pt modelId="{D1CD6E13-4D1B-41DE-8DCF-783ABBD3AD23}" type="pres">
      <dgm:prSet presAssocID="{D63689AC-8E0F-4832-8235-9CFA4605920F}" presName="spaceBetweenRectangles" presStyleCnt="0"/>
      <dgm:spPr/>
    </dgm:pt>
    <dgm:pt modelId="{AC95119F-4CDD-4199-BBE1-59A3C172E55B}" type="pres">
      <dgm:prSet presAssocID="{9CE585AB-432C-474B-A92D-FEA6374C5028}" presName="parentLin" presStyleCnt="0"/>
      <dgm:spPr/>
    </dgm:pt>
    <dgm:pt modelId="{DA4F4C7B-4091-4345-8CFE-8A5484037369}" type="pres">
      <dgm:prSet presAssocID="{9CE585AB-432C-474B-A92D-FEA6374C5028}" presName="parentLeftMargin" presStyleLbl="node1" presStyleIdx="0" presStyleCnt="6"/>
      <dgm:spPr/>
    </dgm:pt>
    <dgm:pt modelId="{150DE50E-C406-45E1-886B-BB31CD45BFB7}" type="pres">
      <dgm:prSet presAssocID="{9CE585AB-432C-474B-A92D-FEA6374C5028}" presName="parentText" presStyleLbl="node1" presStyleIdx="1" presStyleCnt="6">
        <dgm:presLayoutVars>
          <dgm:chMax val="0"/>
          <dgm:bulletEnabled val="1"/>
        </dgm:presLayoutVars>
      </dgm:prSet>
      <dgm:spPr/>
    </dgm:pt>
    <dgm:pt modelId="{2D4C9EF1-4077-4A18-961F-80015CA0E3A4}" type="pres">
      <dgm:prSet presAssocID="{9CE585AB-432C-474B-A92D-FEA6374C5028}" presName="negativeSpace" presStyleCnt="0"/>
      <dgm:spPr/>
    </dgm:pt>
    <dgm:pt modelId="{A034A74A-C06F-4574-9435-BD378C96E24B}" type="pres">
      <dgm:prSet presAssocID="{9CE585AB-432C-474B-A92D-FEA6374C5028}" presName="childText" presStyleLbl="conFgAcc1" presStyleIdx="1" presStyleCnt="6">
        <dgm:presLayoutVars>
          <dgm:bulletEnabled val="1"/>
        </dgm:presLayoutVars>
      </dgm:prSet>
      <dgm:spPr/>
    </dgm:pt>
    <dgm:pt modelId="{C5D1E580-39D5-463E-81E2-44D965CE835A}" type="pres">
      <dgm:prSet presAssocID="{25C45F45-0574-4F3E-812E-8A072349E254}" presName="spaceBetweenRectangles" presStyleCnt="0"/>
      <dgm:spPr/>
    </dgm:pt>
    <dgm:pt modelId="{40EF8819-9215-47CA-95CE-EF08894470E3}" type="pres">
      <dgm:prSet presAssocID="{27DD6CA6-D10E-4E9C-9286-BC299DD55EEC}" presName="parentLin" presStyleCnt="0"/>
      <dgm:spPr/>
    </dgm:pt>
    <dgm:pt modelId="{334F8BB5-B970-44AD-B672-D337D65CDFDE}" type="pres">
      <dgm:prSet presAssocID="{27DD6CA6-D10E-4E9C-9286-BC299DD55EEC}" presName="parentLeftMargin" presStyleLbl="node1" presStyleIdx="1" presStyleCnt="6"/>
      <dgm:spPr/>
    </dgm:pt>
    <dgm:pt modelId="{1D57682D-0200-4E56-8998-32C7B02742F0}" type="pres">
      <dgm:prSet presAssocID="{27DD6CA6-D10E-4E9C-9286-BC299DD55EEC}" presName="parentText" presStyleLbl="node1" presStyleIdx="2" presStyleCnt="6">
        <dgm:presLayoutVars>
          <dgm:chMax val="0"/>
          <dgm:bulletEnabled val="1"/>
        </dgm:presLayoutVars>
      </dgm:prSet>
      <dgm:spPr/>
    </dgm:pt>
    <dgm:pt modelId="{9F4064C5-A369-4A32-876A-759BAE2EB862}" type="pres">
      <dgm:prSet presAssocID="{27DD6CA6-D10E-4E9C-9286-BC299DD55EEC}" presName="negativeSpace" presStyleCnt="0"/>
      <dgm:spPr/>
    </dgm:pt>
    <dgm:pt modelId="{FAA9E96E-7030-4828-AF77-D6DD9F8F1E6F}" type="pres">
      <dgm:prSet presAssocID="{27DD6CA6-D10E-4E9C-9286-BC299DD55EEC}" presName="childText" presStyleLbl="conFgAcc1" presStyleIdx="2" presStyleCnt="6">
        <dgm:presLayoutVars>
          <dgm:bulletEnabled val="1"/>
        </dgm:presLayoutVars>
      </dgm:prSet>
      <dgm:spPr/>
    </dgm:pt>
    <dgm:pt modelId="{61EFC2D0-38BD-4750-A2DD-2FEB3793984F}" type="pres">
      <dgm:prSet presAssocID="{7730E77C-004B-489D-9680-059D04A29660}" presName="spaceBetweenRectangles" presStyleCnt="0"/>
      <dgm:spPr/>
    </dgm:pt>
    <dgm:pt modelId="{9DFA2783-1201-495C-846E-9D1E3A691974}" type="pres">
      <dgm:prSet presAssocID="{63CCFD42-6470-40E5-82AC-F7414000B570}" presName="parentLin" presStyleCnt="0"/>
      <dgm:spPr/>
    </dgm:pt>
    <dgm:pt modelId="{8098E604-5181-40E8-801C-C45630BDF85C}" type="pres">
      <dgm:prSet presAssocID="{63CCFD42-6470-40E5-82AC-F7414000B570}" presName="parentLeftMargin" presStyleLbl="node1" presStyleIdx="2" presStyleCnt="6"/>
      <dgm:spPr/>
    </dgm:pt>
    <dgm:pt modelId="{16D28D11-3FA4-4C3A-9C98-CC44B5429D7B}" type="pres">
      <dgm:prSet presAssocID="{63CCFD42-6470-40E5-82AC-F7414000B570}" presName="parentText" presStyleLbl="node1" presStyleIdx="3" presStyleCnt="6">
        <dgm:presLayoutVars>
          <dgm:chMax val="0"/>
          <dgm:bulletEnabled val="1"/>
        </dgm:presLayoutVars>
      </dgm:prSet>
      <dgm:spPr/>
    </dgm:pt>
    <dgm:pt modelId="{AF75DD1A-BA42-4F2B-B1B5-B8B47C56244E}" type="pres">
      <dgm:prSet presAssocID="{63CCFD42-6470-40E5-82AC-F7414000B570}" presName="negativeSpace" presStyleCnt="0"/>
      <dgm:spPr/>
    </dgm:pt>
    <dgm:pt modelId="{B96CB6B3-4651-4839-9C82-C4F9F0D86590}" type="pres">
      <dgm:prSet presAssocID="{63CCFD42-6470-40E5-82AC-F7414000B570}" presName="childText" presStyleLbl="conFgAcc1" presStyleIdx="3" presStyleCnt="6">
        <dgm:presLayoutVars>
          <dgm:bulletEnabled val="1"/>
        </dgm:presLayoutVars>
      </dgm:prSet>
      <dgm:spPr/>
    </dgm:pt>
    <dgm:pt modelId="{74DC66D0-D72A-4DFD-BE17-954FFE711EDB}" type="pres">
      <dgm:prSet presAssocID="{604C94E3-3CE7-47FE-83DB-6C71E6DD30CE}" presName="spaceBetweenRectangles" presStyleCnt="0"/>
      <dgm:spPr/>
    </dgm:pt>
    <dgm:pt modelId="{66D136C6-07EF-47FF-A108-9101D5A14905}" type="pres">
      <dgm:prSet presAssocID="{8D13BCA8-E77A-45B5-A285-E4C7190BCFD2}" presName="parentLin" presStyleCnt="0"/>
      <dgm:spPr/>
    </dgm:pt>
    <dgm:pt modelId="{58DFA221-DCD8-4E39-99BB-0D24C835F94A}" type="pres">
      <dgm:prSet presAssocID="{8D13BCA8-E77A-45B5-A285-E4C7190BCFD2}" presName="parentLeftMargin" presStyleLbl="node1" presStyleIdx="3" presStyleCnt="6"/>
      <dgm:spPr/>
    </dgm:pt>
    <dgm:pt modelId="{A8903158-FFDA-4CF9-A272-3945E6F5085A}" type="pres">
      <dgm:prSet presAssocID="{8D13BCA8-E77A-45B5-A285-E4C7190BCFD2}" presName="parentText" presStyleLbl="node1" presStyleIdx="4" presStyleCnt="6">
        <dgm:presLayoutVars>
          <dgm:chMax val="0"/>
          <dgm:bulletEnabled val="1"/>
        </dgm:presLayoutVars>
      </dgm:prSet>
      <dgm:spPr/>
    </dgm:pt>
    <dgm:pt modelId="{98A2F15A-22D8-4646-B313-F8BFD3F4F41D}" type="pres">
      <dgm:prSet presAssocID="{8D13BCA8-E77A-45B5-A285-E4C7190BCFD2}" presName="negativeSpace" presStyleCnt="0"/>
      <dgm:spPr/>
    </dgm:pt>
    <dgm:pt modelId="{198BD4D4-8840-4A94-A9AD-0C2487372A01}" type="pres">
      <dgm:prSet presAssocID="{8D13BCA8-E77A-45B5-A285-E4C7190BCFD2}" presName="childText" presStyleLbl="conFgAcc1" presStyleIdx="4" presStyleCnt="6">
        <dgm:presLayoutVars>
          <dgm:bulletEnabled val="1"/>
        </dgm:presLayoutVars>
      </dgm:prSet>
      <dgm:spPr/>
    </dgm:pt>
    <dgm:pt modelId="{534CBC2A-A215-4AAE-B953-525A1D130D0D}" type="pres">
      <dgm:prSet presAssocID="{47E931A7-B674-4A7D-B0F5-EB572E5BE337}" presName="spaceBetweenRectangles" presStyleCnt="0"/>
      <dgm:spPr/>
    </dgm:pt>
    <dgm:pt modelId="{34EEAABD-F8FD-463E-9F91-810D5B768366}" type="pres">
      <dgm:prSet presAssocID="{9CC74014-CFB9-4E0E-AEC5-AEFE8FABAEC4}" presName="parentLin" presStyleCnt="0"/>
      <dgm:spPr/>
    </dgm:pt>
    <dgm:pt modelId="{8B0E1314-2F65-4266-9E1D-1C05E26AE60E}" type="pres">
      <dgm:prSet presAssocID="{9CC74014-CFB9-4E0E-AEC5-AEFE8FABAEC4}" presName="parentLeftMargin" presStyleLbl="node1" presStyleIdx="4" presStyleCnt="6"/>
      <dgm:spPr/>
    </dgm:pt>
    <dgm:pt modelId="{A6E940B4-8228-4D98-8183-445F6D8B092B}" type="pres">
      <dgm:prSet presAssocID="{9CC74014-CFB9-4E0E-AEC5-AEFE8FABAEC4}" presName="parentText" presStyleLbl="node1" presStyleIdx="5" presStyleCnt="6">
        <dgm:presLayoutVars>
          <dgm:chMax val="0"/>
          <dgm:bulletEnabled val="1"/>
        </dgm:presLayoutVars>
      </dgm:prSet>
      <dgm:spPr/>
    </dgm:pt>
    <dgm:pt modelId="{4C20456E-8414-4A46-9733-8A8F47457F55}" type="pres">
      <dgm:prSet presAssocID="{9CC74014-CFB9-4E0E-AEC5-AEFE8FABAEC4}" presName="negativeSpace" presStyleCnt="0"/>
      <dgm:spPr/>
    </dgm:pt>
    <dgm:pt modelId="{2DDD9E8B-B20B-4D71-9BDB-815174AB993C}" type="pres">
      <dgm:prSet presAssocID="{9CC74014-CFB9-4E0E-AEC5-AEFE8FABAEC4}" presName="childText" presStyleLbl="conFgAcc1" presStyleIdx="5" presStyleCnt="6">
        <dgm:presLayoutVars>
          <dgm:bulletEnabled val="1"/>
        </dgm:presLayoutVars>
      </dgm:prSet>
      <dgm:spPr/>
    </dgm:pt>
  </dgm:ptLst>
  <dgm:cxnLst>
    <dgm:cxn modelId="{FE98B002-7217-4F97-97B6-397B515C97E0}" srcId="{D5E94700-128A-451A-88DE-0CE57FBA37B8}" destId="{1DEFF086-910D-4DFC-A402-4092057066E6}" srcOrd="0" destOrd="0" parTransId="{480CF466-CA73-4E70-B0D4-6A154B98497D}" sibTransId="{D63689AC-8E0F-4832-8235-9CFA4605920F}"/>
    <dgm:cxn modelId="{64A52414-F237-4943-8529-AEB436485B64}" type="presOf" srcId="{63CCFD42-6470-40E5-82AC-F7414000B570}" destId="{16D28D11-3FA4-4C3A-9C98-CC44B5429D7B}" srcOrd="1" destOrd="0" presId="urn:microsoft.com/office/officeart/2005/8/layout/list1"/>
    <dgm:cxn modelId="{08D3142A-937B-4EDA-B56F-E4A6EE0FA20B}" type="presOf" srcId="{9CC74014-CFB9-4E0E-AEC5-AEFE8FABAEC4}" destId="{8B0E1314-2F65-4266-9E1D-1C05E26AE60E}" srcOrd="0" destOrd="0" presId="urn:microsoft.com/office/officeart/2005/8/layout/list1"/>
    <dgm:cxn modelId="{C56A2833-9118-4195-BFAB-8E72ACEBB88D}" srcId="{D5E94700-128A-451A-88DE-0CE57FBA37B8}" destId="{9CE585AB-432C-474B-A92D-FEA6374C5028}" srcOrd="1" destOrd="0" parTransId="{14C769F7-A509-4D95-A551-F955E01DCB8C}" sibTransId="{25C45F45-0574-4F3E-812E-8A072349E254}"/>
    <dgm:cxn modelId="{0AF6853D-FAA3-4338-A317-FC53B08CFEE6}" type="presOf" srcId="{8D13BCA8-E77A-45B5-A285-E4C7190BCFD2}" destId="{A8903158-FFDA-4CF9-A272-3945E6F5085A}" srcOrd="1" destOrd="0" presId="urn:microsoft.com/office/officeart/2005/8/layout/list1"/>
    <dgm:cxn modelId="{9EC9AA5E-1D08-4FA7-90E1-C02FE8290008}" type="presOf" srcId="{9CC74014-CFB9-4E0E-AEC5-AEFE8FABAEC4}" destId="{A6E940B4-8228-4D98-8183-445F6D8B092B}" srcOrd="1" destOrd="0" presId="urn:microsoft.com/office/officeart/2005/8/layout/list1"/>
    <dgm:cxn modelId="{CDABC864-A2C1-4872-A93F-A5F1AB789020}" type="presOf" srcId="{9CE585AB-432C-474B-A92D-FEA6374C5028}" destId="{150DE50E-C406-45E1-886B-BB31CD45BFB7}" srcOrd="1" destOrd="0" presId="urn:microsoft.com/office/officeart/2005/8/layout/list1"/>
    <dgm:cxn modelId="{932EE66A-8C7A-4B50-8702-920894C95BC9}" type="presOf" srcId="{9CE585AB-432C-474B-A92D-FEA6374C5028}" destId="{DA4F4C7B-4091-4345-8CFE-8A5484037369}" srcOrd="0" destOrd="0" presId="urn:microsoft.com/office/officeart/2005/8/layout/list1"/>
    <dgm:cxn modelId="{96C8B056-1360-49EC-ADE0-5FC39936F45D}" srcId="{D5E94700-128A-451A-88DE-0CE57FBA37B8}" destId="{63CCFD42-6470-40E5-82AC-F7414000B570}" srcOrd="3" destOrd="0" parTransId="{36B29947-FA9D-4168-9622-548A1EF1EA5D}" sibTransId="{604C94E3-3CE7-47FE-83DB-6C71E6DD30CE}"/>
    <dgm:cxn modelId="{1E0B8D7D-FA08-42FE-8DC1-1F0EA7A53DA5}" srcId="{D5E94700-128A-451A-88DE-0CE57FBA37B8}" destId="{9CC74014-CFB9-4E0E-AEC5-AEFE8FABAEC4}" srcOrd="5" destOrd="0" parTransId="{62131534-14E9-4FC7-9AD2-A23F4FD6677C}" sibTransId="{425E4CAE-7970-4104-88BF-9C9AEC89E6F2}"/>
    <dgm:cxn modelId="{2E71D88D-FC2B-4426-A0A0-5D4866668B0C}" type="presOf" srcId="{8D13BCA8-E77A-45B5-A285-E4C7190BCFD2}" destId="{58DFA221-DCD8-4E39-99BB-0D24C835F94A}" srcOrd="0" destOrd="0" presId="urn:microsoft.com/office/officeart/2005/8/layout/list1"/>
    <dgm:cxn modelId="{3D36E595-16D9-4467-8B34-A46373832FB1}" type="presOf" srcId="{27DD6CA6-D10E-4E9C-9286-BC299DD55EEC}" destId="{1D57682D-0200-4E56-8998-32C7B02742F0}" srcOrd="1" destOrd="0" presId="urn:microsoft.com/office/officeart/2005/8/layout/list1"/>
    <dgm:cxn modelId="{6453D79A-038D-468A-9B28-CCDAFC3D513B}" type="presOf" srcId="{63CCFD42-6470-40E5-82AC-F7414000B570}" destId="{8098E604-5181-40E8-801C-C45630BDF85C}" srcOrd="0" destOrd="0" presId="urn:microsoft.com/office/officeart/2005/8/layout/list1"/>
    <dgm:cxn modelId="{C119A8A2-9253-425D-A9FA-4632FE0006E2}" type="presOf" srcId="{D5E94700-128A-451A-88DE-0CE57FBA37B8}" destId="{FD1FAF6A-D6BF-4DFD-B8E0-2503CB5F4756}" srcOrd="0" destOrd="0" presId="urn:microsoft.com/office/officeart/2005/8/layout/list1"/>
    <dgm:cxn modelId="{5E6831AC-FFE6-4F2A-A7DE-77A4ACF33375}" srcId="{D5E94700-128A-451A-88DE-0CE57FBA37B8}" destId="{27DD6CA6-D10E-4E9C-9286-BC299DD55EEC}" srcOrd="2" destOrd="0" parTransId="{1927DF54-63CE-4A50-B6C8-9C3AD50FEE61}" sibTransId="{7730E77C-004B-489D-9680-059D04A29660}"/>
    <dgm:cxn modelId="{1C194FB7-B671-4ABE-96A2-8297724C74B7}" type="presOf" srcId="{27DD6CA6-D10E-4E9C-9286-BC299DD55EEC}" destId="{334F8BB5-B970-44AD-B672-D337D65CDFDE}" srcOrd="0" destOrd="0" presId="urn:microsoft.com/office/officeart/2005/8/layout/list1"/>
    <dgm:cxn modelId="{A55BF8B7-911F-4D73-87C7-0CF717ED8E70}" type="presOf" srcId="{1DEFF086-910D-4DFC-A402-4092057066E6}" destId="{51DE0A18-E2D2-4F38-8D1B-4F2D59EB1C3A}" srcOrd="0" destOrd="0" presId="urn:microsoft.com/office/officeart/2005/8/layout/list1"/>
    <dgm:cxn modelId="{B1E253C2-6D4E-4250-93FE-8DBF177F96F0}" type="presOf" srcId="{1DEFF086-910D-4DFC-A402-4092057066E6}" destId="{0A6B007B-CFBC-4B80-820D-865D456B48AA}" srcOrd="1" destOrd="0" presId="urn:microsoft.com/office/officeart/2005/8/layout/list1"/>
    <dgm:cxn modelId="{0811FBD2-2357-4EAD-A7C2-622A29005B24}" srcId="{D5E94700-128A-451A-88DE-0CE57FBA37B8}" destId="{8D13BCA8-E77A-45B5-A285-E4C7190BCFD2}" srcOrd="4" destOrd="0" parTransId="{084C2C00-79DF-4FBF-AB94-8221A11EAA70}" sibTransId="{47E931A7-B674-4A7D-B0F5-EB572E5BE337}"/>
    <dgm:cxn modelId="{9FFB8BFF-E5A0-4113-B351-26436EDB4116}" type="presParOf" srcId="{FD1FAF6A-D6BF-4DFD-B8E0-2503CB5F4756}" destId="{A24B3B34-BE70-4F2D-B079-6085A26E7522}" srcOrd="0" destOrd="0" presId="urn:microsoft.com/office/officeart/2005/8/layout/list1"/>
    <dgm:cxn modelId="{A1607979-889F-477F-AF38-3EADC906B572}" type="presParOf" srcId="{A24B3B34-BE70-4F2D-B079-6085A26E7522}" destId="{51DE0A18-E2D2-4F38-8D1B-4F2D59EB1C3A}" srcOrd="0" destOrd="0" presId="urn:microsoft.com/office/officeart/2005/8/layout/list1"/>
    <dgm:cxn modelId="{F3DD1484-16F2-4977-A32E-DA6454E99C33}" type="presParOf" srcId="{A24B3B34-BE70-4F2D-B079-6085A26E7522}" destId="{0A6B007B-CFBC-4B80-820D-865D456B48AA}" srcOrd="1" destOrd="0" presId="urn:microsoft.com/office/officeart/2005/8/layout/list1"/>
    <dgm:cxn modelId="{A29F7EAD-487A-45A8-9F1C-7D604BE85B1A}" type="presParOf" srcId="{FD1FAF6A-D6BF-4DFD-B8E0-2503CB5F4756}" destId="{C482B2C2-45A7-4491-B9C9-33E099DB9069}" srcOrd="1" destOrd="0" presId="urn:microsoft.com/office/officeart/2005/8/layout/list1"/>
    <dgm:cxn modelId="{6A3A68F8-9198-45FC-87D0-FE3165AFE381}" type="presParOf" srcId="{FD1FAF6A-D6BF-4DFD-B8E0-2503CB5F4756}" destId="{DB2D5C81-2392-492B-BC07-A310BE163726}" srcOrd="2" destOrd="0" presId="urn:microsoft.com/office/officeart/2005/8/layout/list1"/>
    <dgm:cxn modelId="{CCD3C5BB-BDB4-4698-A2C0-59314CD5E784}" type="presParOf" srcId="{FD1FAF6A-D6BF-4DFD-B8E0-2503CB5F4756}" destId="{D1CD6E13-4D1B-41DE-8DCF-783ABBD3AD23}" srcOrd="3" destOrd="0" presId="urn:microsoft.com/office/officeart/2005/8/layout/list1"/>
    <dgm:cxn modelId="{BF926AD8-500C-4CA2-AFA1-ED7C45A84FEE}" type="presParOf" srcId="{FD1FAF6A-D6BF-4DFD-B8E0-2503CB5F4756}" destId="{AC95119F-4CDD-4199-BBE1-59A3C172E55B}" srcOrd="4" destOrd="0" presId="urn:microsoft.com/office/officeart/2005/8/layout/list1"/>
    <dgm:cxn modelId="{CFDE433E-DA5E-42B8-AE24-2D6B3DD06DEA}" type="presParOf" srcId="{AC95119F-4CDD-4199-BBE1-59A3C172E55B}" destId="{DA4F4C7B-4091-4345-8CFE-8A5484037369}" srcOrd="0" destOrd="0" presId="urn:microsoft.com/office/officeart/2005/8/layout/list1"/>
    <dgm:cxn modelId="{4C54B4D9-A2DD-43B3-B4B8-C1B3BEFA213F}" type="presParOf" srcId="{AC95119F-4CDD-4199-BBE1-59A3C172E55B}" destId="{150DE50E-C406-45E1-886B-BB31CD45BFB7}" srcOrd="1" destOrd="0" presId="urn:microsoft.com/office/officeart/2005/8/layout/list1"/>
    <dgm:cxn modelId="{A907EDE9-279F-4B6E-A1B4-AE4C13664873}" type="presParOf" srcId="{FD1FAF6A-D6BF-4DFD-B8E0-2503CB5F4756}" destId="{2D4C9EF1-4077-4A18-961F-80015CA0E3A4}" srcOrd="5" destOrd="0" presId="urn:microsoft.com/office/officeart/2005/8/layout/list1"/>
    <dgm:cxn modelId="{4292F11E-5A8A-40CA-927D-1AE5DE2422B7}" type="presParOf" srcId="{FD1FAF6A-D6BF-4DFD-B8E0-2503CB5F4756}" destId="{A034A74A-C06F-4574-9435-BD378C96E24B}" srcOrd="6" destOrd="0" presId="urn:microsoft.com/office/officeart/2005/8/layout/list1"/>
    <dgm:cxn modelId="{DE0CAD62-8576-46F9-A8A2-B36154F0EF09}" type="presParOf" srcId="{FD1FAF6A-D6BF-4DFD-B8E0-2503CB5F4756}" destId="{C5D1E580-39D5-463E-81E2-44D965CE835A}" srcOrd="7" destOrd="0" presId="urn:microsoft.com/office/officeart/2005/8/layout/list1"/>
    <dgm:cxn modelId="{18B1A439-2A66-49E0-B44C-915D27B792F6}" type="presParOf" srcId="{FD1FAF6A-D6BF-4DFD-B8E0-2503CB5F4756}" destId="{40EF8819-9215-47CA-95CE-EF08894470E3}" srcOrd="8" destOrd="0" presId="urn:microsoft.com/office/officeart/2005/8/layout/list1"/>
    <dgm:cxn modelId="{861DAFE7-B0E5-46EE-ACD5-E8DC7A75214A}" type="presParOf" srcId="{40EF8819-9215-47CA-95CE-EF08894470E3}" destId="{334F8BB5-B970-44AD-B672-D337D65CDFDE}" srcOrd="0" destOrd="0" presId="urn:microsoft.com/office/officeart/2005/8/layout/list1"/>
    <dgm:cxn modelId="{57350360-875D-4D91-992D-C83BF70F567D}" type="presParOf" srcId="{40EF8819-9215-47CA-95CE-EF08894470E3}" destId="{1D57682D-0200-4E56-8998-32C7B02742F0}" srcOrd="1" destOrd="0" presId="urn:microsoft.com/office/officeart/2005/8/layout/list1"/>
    <dgm:cxn modelId="{44BEF10B-3EA0-46D1-AFA0-59F57D90E7F7}" type="presParOf" srcId="{FD1FAF6A-D6BF-4DFD-B8E0-2503CB5F4756}" destId="{9F4064C5-A369-4A32-876A-759BAE2EB862}" srcOrd="9" destOrd="0" presId="urn:microsoft.com/office/officeart/2005/8/layout/list1"/>
    <dgm:cxn modelId="{35E87E95-072A-4DD3-A839-7B1D22E7FD52}" type="presParOf" srcId="{FD1FAF6A-D6BF-4DFD-B8E0-2503CB5F4756}" destId="{FAA9E96E-7030-4828-AF77-D6DD9F8F1E6F}" srcOrd="10" destOrd="0" presId="urn:microsoft.com/office/officeart/2005/8/layout/list1"/>
    <dgm:cxn modelId="{E8D423C3-D849-4FB3-875C-E9ACE98F8D4B}" type="presParOf" srcId="{FD1FAF6A-D6BF-4DFD-B8E0-2503CB5F4756}" destId="{61EFC2D0-38BD-4750-A2DD-2FEB3793984F}" srcOrd="11" destOrd="0" presId="urn:microsoft.com/office/officeart/2005/8/layout/list1"/>
    <dgm:cxn modelId="{A246019E-7431-436B-9510-2C6007631AA4}" type="presParOf" srcId="{FD1FAF6A-D6BF-4DFD-B8E0-2503CB5F4756}" destId="{9DFA2783-1201-495C-846E-9D1E3A691974}" srcOrd="12" destOrd="0" presId="urn:microsoft.com/office/officeart/2005/8/layout/list1"/>
    <dgm:cxn modelId="{AC1B734D-AC8D-4880-AA83-37E2C6835298}" type="presParOf" srcId="{9DFA2783-1201-495C-846E-9D1E3A691974}" destId="{8098E604-5181-40E8-801C-C45630BDF85C}" srcOrd="0" destOrd="0" presId="urn:microsoft.com/office/officeart/2005/8/layout/list1"/>
    <dgm:cxn modelId="{DCE21499-36DE-400B-B37B-E4D00DFA0545}" type="presParOf" srcId="{9DFA2783-1201-495C-846E-9D1E3A691974}" destId="{16D28D11-3FA4-4C3A-9C98-CC44B5429D7B}" srcOrd="1" destOrd="0" presId="urn:microsoft.com/office/officeart/2005/8/layout/list1"/>
    <dgm:cxn modelId="{72DB0966-118E-460F-8001-5FE988FB53AE}" type="presParOf" srcId="{FD1FAF6A-D6BF-4DFD-B8E0-2503CB5F4756}" destId="{AF75DD1A-BA42-4F2B-B1B5-B8B47C56244E}" srcOrd="13" destOrd="0" presId="urn:microsoft.com/office/officeart/2005/8/layout/list1"/>
    <dgm:cxn modelId="{7CB97829-80DB-41C1-AB57-9AE2BC586BB3}" type="presParOf" srcId="{FD1FAF6A-D6BF-4DFD-B8E0-2503CB5F4756}" destId="{B96CB6B3-4651-4839-9C82-C4F9F0D86590}" srcOrd="14" destOrd="0" presId="urn:microsoft.com/office/officeart/2005/8/layout/list1"/>
    <dgm:cxn modelId="{F0F8FD4E-EAA2-4E3C-8546-E8CA99476CC0}" type="presParOf" srcId="{FD1FAF6A-D6BF-4DFD-B8E0-2503CB5F4756}" destId="{74DC66D0-D72A-4DFD-BE17-954FFE711EDB}" srcOrd="15" destOrd="0" presId="urn:microsoft.com/office/officeart/2005/8/layout/list1"/>
    <dgm:cxn modelId="{A8CADDEE-B7F2-4192-8325-824FF2EECB78}" type="presParOf" srcId="{FD1FAF6A-D6BF-4DFD-B8E0-2503CB5F4756}" destId="{66D136C6-07EF-47FF-A108-9101D5A14905}" srcOrd="16" destOrd="0" presId="urn:microsoft.com/office/officeart/2005/8/layout/list1"/>
    <dgm:cxn modelId="{4799C8CB-C61A-4E45-986A-31E6DE2B40A2}" type="presParOf" srcId="{66D136C6-07EF-47FF-A108-9101D5A14905}" destId="{58DFA221-DCD8-4E39-99BB-0D24C835F94A}" srcOrd="0" destOrd="0" presId="urn:microsoft.com/office/officeart/2005/8/layout/list1"/>
    <dgm:cxn modelId="{EE38623E-11BA-44E0-8A44-1D7AC55CEE3C}" type="presParOf" srcId="{66D136C6-07EF-47FF-A108-9101D5A14905}" destId="{A8903158-FFDA-4CF9-A272-3945E6F5085A}" srcOrd="1" destOrd="0" presId="urn:microsoft.com/office/officeart/2005/8/layout/list1"/>
    <dgm:cxn modelId="{8A9BDD96-73BE-4232-926C-DA3EC9E6CB2C}" type="presParOf" srcId="{FD1FAF6A-D6BF-4DFD-B8E0-2503CB5F4756}" destId="{98A2F15A-22D8-4646-B313-F8BFD3F4F41D}" srcOrd="17" destOrd="0" presId="urn:microsoft.com/office/officeart/2005/8/layout/list1"/>
    <dgm:cxn modelId="{5E82DB66-73DB-4C43-A231-8B18764F0377}" type="presParOf" srcId="{FD1FAF6A-D6BF-4DFD-B8E0-2503CB5F4756}" destId="{198BD4D4-8840-4A94-A9AD-0C2487372A01}" srcOrd="18" destOrd="0" presId="urn:microsoft.com/office/officeart/2005/8/layout/list1"/>
    <dgm:cxn modelId="{4965AE80-0021-45CE-B5EE-577B34632CCE}" type="presParOf" srcId="{FD1FAF6A-D6BF-4DFD-B8E0-2503CB5F4756}" destId="{534CBC2A-A215-4AAE-B953-525A1D130D0D}" srcOrd="19" destOrd="0" presId="urn:microsoft.com/office/officeart/2005/8/layout/list1"/>
    <dgm:cxn modelId="{6AB393B8-AE84-4603-82C2-E18EB0C83B21}" type="presParOf" srcId="{FD1FAF6A-D6BF-4DFD-B8E0-2503CB5F4756}" destId="{34EEAABD-F8FD-463E-9F91-810D5B768366}" srcOrd="20" destOrd="0" presId="urn:microsoft.com/office/officeart/2005/8/layout/list1"/>
    <dgm:cxn modelId="{BA258E43-08EF-47F8-88F5-695E69BDE05E}" type="presParOf" srcId="{34EEAABD-F8FD-463E-9F91-810D5B768366}" destId="{8B0E1314-2F65-4266-9E1D-1C05E26AE60E}" srcOrd="0" destOrd="0" presId="urn:microsoft.com/office/officeart/2005/8/layout/list1"/>
    <dgm:cxn modelId="{1F0D2A95-A8BF-4100-BA65-15226CD87215}" type="presParOf" srcId="{34EEAABD-F8FD-463E-9F91-810D5B768366}" destId="{A6E940B4-8228-4D98-8183-445F6D8B092B}" srcOrd="1" destOrd="0" presId="urn:microsoft.com/office/officeart/2005/8/layout/list1"/>
    <dgm:cxn modelId="{C4BE98C3-AE32-43F0-909F-2A07F5E529B9}" type="presParOf" srcId="{FD1FAF6A-D6BF-4DFD-B8E0-2503CB5F4756}" destId="{4C20456E-8414-4A46-9733-8A8F47457F55}" srcOrd="21" destOrd="0" presId="urn:microsoft.com/office/officeart/2005/8/layout/list1"/>
    <dgm:cxn modelId="{A1FDEC1C-A2E7-4848-A13F-0F65DC3A47AD}" type="presParOf" srcId="{FD1FAF6A-D6BF-4DFD-B8E0-2503CB5F4756}" destId="{2DDD9E8B-B20B-4D71-9BDB-815174AB993C}" srcOrd="2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9EB841-02EE-4E21-AACA-F4C6C00D173C}" type="doc">
      <dgm:prSet loTypeId="urn:microsoft.com/office/officeart/2005/8/layout/vList2" loCatId="list" qsTypeId="urn:microsoft.com/office/officeart/2005/8/quickstyle/simple4" qsCatId="simple" csTypeId="urn:microsoft.com/office/officeart/2005/8/colors/accent2_2" csCatId="accent2"/>
      <dgm:spPr/>
      <dgm:t>
        <a:bodyPr/>
        <a:lstStyle/>
        <a:p>
          <a:endParaRPr lang="en-US"/>
        </a:p>
      </dgm:t>
    </dgm:pt>
    <dgm:pt modelId="{6C963FF8-C703-484E-BDF0-0BB1FE04435F}">
      <dgm:prSet/>
      <dgm:spPr/>
      <dgm:t>
        <a:bodyPr/>
        <a:lstStyle/>
        <a:p>
          <a:r>
            <a:rPr lang="en-IN" b="1"/>
            <a:t>Document Loading</a:t>
          </a:r>
          <a:r>
            <a:rPr lang="en-IN"/>
            <a:t>: Extracts text and metadata from various file formats </a:t>
          </a:r>
          <a:endParaRPr lang="en-US"/>
        </a:p>
      </dgm:t>
    </dgm:pt>
    <dgm:pt modelId="{90923135-3C8A-4833-9963-B1ECDD8F3E6B}" type="parTrans" cxnId="{7D40A0CC-81C5-4D67-945A-60B7AC9CF147}">
      <dgm:prSet/>
      <dgm:spPr/>
      <dgm:t>
        <a:bodyPr/>
        <a:lstStyle/>
        <a:p>
          <a:endParaRPr lang="en-US"/>
        </a:p>
      </dgm:t>
    </dgm:pt>
    <dgm:pt modelId="{D66A7AA5-5617-444F-93B9-B0412622F560}" type="sibTrans" cxnId="{7D40A0CC-81C5-4D67-945A-60B7AC9CF147}">
      <dgm:prSet/>
      <dgm:spPr/>
      <dgm:t>
        <a:bodyPr/>
        <a:lstStyle/>
        <a:p>
          <a:endParaRPr lang="en-US"/>
        </a:p>
      </dgm:t>
    </dgm:pt>
    <dgm:pt modelId="{F1698EE9-655D-455B-AC5A-AEFF9A8887A2}">
      <dgm:prSet/>
      <dgm:spPr/>
      <dgm:t>
        <a:bodyPr/>
        <a:lstStyle/>
        <a:p>
          <a:r>
            <a:rPr lang="en-IN"/>
            <a:t>Implementation: DocumentLoader class with specialized file processors</a:t>
          </a:r>
          <a:endParaRPr lang="en-US"/>
        </a:p>
      </dgm:t>
    </dgm:pt>
    <dgm:pt modelId="{1CF2BC21-C689-4772-B4A4-2CD42A2E1B7B}" type="parTrans" cxnId="{7C57CBD3-6C23-4775-B87A-E6CDFB891534}">
      <dgm:prSet/>
      <dgm:spPr/>
      <dgm:t>
        <a:bodyPr/>
        <a:lstStyle/>
        <a:p>
          <a:endParaRPr lang="en-US"/>
        </a:p>
      </dgm:t>
    </dgm:pt>
    <dgm:pt modelId="{FD4AAD6B-85B2-44C2-B5A7-662D5A6AD059}" type="sibTrans" cxnId="{7C57CBD3-6C23-4775-B87A-E6CDFB891534}">
      <dgm:prSet/>
      <dgm:spPr/>
      <dgm:t>
        <a:bodyPr/>
        <a:lstStyle/>
        <a:p>
          <a:endParaRPr lang="en-US"/>
        </a:p>
      </dgm:t>
    </dgm:pt>
    <dgm:pt modelId="{26F7C6BC-3886-458B-839A-C990B6DED3B3}">
      <dgm:prSet/>
      <dgm:spPr/>
      <dgm:t>
        <a:bodyPr/>
        <a:lstStyle/>
        <a:p>
          <a:r>
            <a:rPr lang="en-IN"/>
            <a:t>Support for PDF, DOCX, PPTX, CSV, TXT, MD, JSON</a:t>
          </a:r>
          <a:endParaRPr lang="en-US"/>
        </a:p>
      </dgm:t>
    </dgm:pt>
    <dgm:pt modelId="{EF572C55-667A-4465-8956-EA30E55025BA}" type="parTrans" cxnId="{62B83D18-3E05-4C08-ADCF-37BDCC1EBAE4}">
      <dgm:prSet/>
      <dgm:spPr/>
      <dgm:t>
        <a:bodyPr/>
        <a:lstStyle/>
        <a:p>
          <a:endParaRPr lang="en-US"/>
        </a:p>
      </dgm:t>
    </dgm:pt>
    <dgm:pt modelId="{42F910DE-0691-4B5C-A599-589D6A08BB54}" type="sibTrans" cxnId="{62B83D18-3E05-4C08-ADCF-37BDCC1EBAE4}">
      <dgm:prSet/>
      <dgm:spPr/>
      <dgm:t>
        <a:bodyPr/>
        <a:lstStyle/>
        <a:p>
          <a:endParaRPr lang="en-US"/>
        </a:p>
      </dgm:t>
    </dgm:pt>
    <dgm:pt modelId="{17DAD429-0CDF-4CF8-9C23-8C540AB8793B}">
      <dgm:prSet/>
      <dgm:spPr/>
      <dgm:t>
        <a:bodyPr/>
        <a:lstStyle/>
        <a:p>
          <a:r>
            <a:rPr lang="en-IN" b="1"/>
            <a:t>Document Chunking</a:t>
          </a:r>
          <a:r>
            <a:rPr lang="en-IN"/>
            <a:t>: Breaks documents into manageable pieces </a:t>
          </a:r>
          <a:endParaRPr lang="en-US"/>
        </a:p>
      </dgm:t>
    </dgm:pt>
    <dgm:pt modelId="{E3CA8CBA-742C-43D8-A69F-490BFB806945}" type="parTrans" cxnId="{5791C8C0-EAB8-4BEB-AC12-442A80CACC29}">
      <dgm:prSet/>
      <dgm:spPr/>
      <dgm:t>
        <a:bodyPr/>
        <a:lstStyle/>
        <a:p>
          <a:endParaRPr lang="en-US"/>
        </a:p>
      </dgm:t>
    </dgm:pt>
    <dgm:pt modelId="{5E9F205F-806B-4FF3-8FEB-DFA8555D4F4E}" type="sibTrans" cxnId="{5791C8C0-EAB8-4BEB-AC12-442A80CACC29}">
      <dgm:prSet/>
      <dgm:spPr/>
      <dgm:t>
        <a:bodyPr/>
        <a:lstStyle/>
        <a:p>
          <a:endParaRPr lang="en-US"/>
        </a:p>
      </dgm:t>
    </dgm:pt>
    <dgm:pt modelId="{CFE417AA-9D5D-46EC-B545-BCEA31208F6C}">
      <dgm:prSet/>
      <dgm:spPr/>
      <dgm:t>
        <a:bodyPr/>
        <a:lstStyle/>
        <a:p>
          <a:r>
            <a:rPr lang="en-IN"/>
            <a:t>Implementation: ChunkerFactory with multiple chunking strategies</a:t>
          </a:r>
          <a:endParaRPr lang="en-US"/>
        </a:p>
      </dgm:t>
    </dgm:pt>
    <dgm:pt modelId="{2455DCE3-450C-44A5-B12F-DD915BF3EFC6}" type="parTrans" cxnId="{812F548A-E79C-4B65-9966-5761F2268EF0}">
      <dgm:prSet/>
      <dgm:spPr/>
      <dgm:t>
        <a:bodyPr/>
        <a:lstStyle/>
        <a:p>
          <a:endParaRPr lang="en-US"/>
        </a:p>
      </dgm:t>
    </dgm:pt>
    <dgm:pt modelId="{8ADB5441-A5F6-4BEE-A295-3B9E6F331B51}" type="sibTrans" cxnId="{812F548A-E79C-4B65-9966-5761F2268EF0}">
      <dgm:prSet/>
      <dgm:spPr/>
      <dgm:t>
        <a:bodyPr/>
        <a:lstStyle/>
        <a:p>
          <a:endParaRPr lang="en-US"/>
        </a:p>
      </dgm:t>
    </dgm:pt>
    <dgm:pt modelId="{B62F8672-4178-4DDD-B415-B4E8BB11FD3C}">
      <dgm:prSet/>
      <dgm:spPr/>
      <dgm:t>
        <a:bodyPr/>
        <a:lstStyle/>
        <a:p>
          <a:r>
            <a:rPr lang="en-IN"/>
            <a:t>Configurable chunk size and overlap parameters</a:t>
          </a:r>
          <a:endParaRPr lang="en-US"/>
        </a:p>
      </dgm:t>
    </dgm:pt>
    <dgm:pt modelId="{8FCFA4C4-FD9B-4530-8D76-05CB383339DA}" type="parTrans" cxnId="{4BB26F5A-444C-4E38-97B4-75B75E654B4B}">
      <dgm:prSet/>
      <dgm:spPr/>
      <dgm:t>
        <a:bodyPr/>
        <a:lstStyle/>
        <a:p>
          <a:endParaRPr lang="en-US"/>
        </a:p>
      </dgm:t>
    </dgm:pt>
    <dgm:pt modelId="{13EFD868-5B94-42EE-9846-ED59DB8F6B75}" type="sibTrans" cxnId="{4BB26F5A-444C-4E38-97B4-75B75E654B4B}">
      <dgm:prSet/>
      <dgm:spPr/>
      <dgm:t>
        <a:bodyPr/>
        <a:lstStyle/>
        <a:p>
          <a:endParaRPr lang="en-US"/>
        </a:p>
      </dgm:t>
    </dgm:pt>
    <dgm:pt modelId="{7F8F45A4-496F-4E58-806B-0621093751C7}">
      <dgm:prSet/>
      <dgm:spPr/>
      <dgm:t>
        <a:bodyPr/>
        <a:lstStyle/>
        <a:p>
          <a:r>
            <a:rPr lang="en-IN" b="1"/>
            <a:t>Embedding Generation</a:t>
          </a:r>
          <a:r>
            <a:rPr lang="en-IN"/>
            <a:t>: Creates vector representations of text </a:t>
          </a:r>
          <a:endParaRPr lang="en-US"/>
        </a:p>
      </dgm:t>
    </dgm:pt>
    <dgm:pt modelId="{F24E9D16-A8E6-450E-B7D5-513EAD351818}" type="parTrans" cxnId="{D962D248-6C84-4A6C-8B1C-75CAA79CEB08}">
      <dgm:prSet/>
      <dgm:spPr/>
      <dgm:t>
        <a:bodyPr/>
        <a:lstStyle/>
        <a:p>
          <a:endParaRPr lang="en-US"/>
        </a:p>
      </dgm:t>
    </dgm:pt>
    <dgm:pt modelId="{3E8F4394-560A-4D75-A5A2-AC0D07700955}" type="sibTrans" cxnId="{D962D248-6C84-4A6C-8B1C-75CAA79CEB08}">
      <dgm:prSet/>
      <dgm:spPr/>
      <dgm:t>
        <a:bodyPr/>
        <a:lstStyle/>
        <a:p>
          <a:endParaRPr lang="en-US"/>
        </a:p>
      </dgm:t>
    </dgm:pt>
    <dgm:pt modelId="{4487ED00-618D-4529-BB45-550FD15752D6}">
      <dgm:prSet/>
      <dgm:spPr/>
      <dgm:t>
        <a:bodyPr/>
        <a:lstStyle/>
        <a:p>
          <a:r>
            <a:rPr lang="en-IN"/>
            <a:t>Implementation: EnhancedEmbeddingGenerator with model selection</a:t>
          </a:r>
          <a:endParaRPr lang="en-US"/>
        </a:p>
      </dgm:t>
    </dgm:pt>
    <dgm:pt modelId="{E2F8CB61-A9C6-4BBC-82C3-63348D3DCED5}" type="parTrans" cxnId="{DF4ABD94-8C41-460F-9037-DA9E89D11BD6}">
      <dgm:prSet/>
      <dgm:spPr/>
      <dgm:t>
        <a:bodyPr/>
        <a:lstStyle/>
        <a:p>
          <a:endParaRPr lang="en-US"/>
        </a:p>
      </dgm:t>
    </dgm:pt>
    <dgm:pt modelId="{CA5417B9-4FE7-41BC-BB1B-D070D318B835}" type="sibTrans" cxnId="{DF4ABD94-8C41-460F-9037-DA9E89D11BD6}">
      <dgm:prSet/>
      <dgm:spPr/>
      <dgm:t>
        <a:bodyPr/>
        <a:lstStyle/>
        <a:p>
          <a:endParaRPr lang="en-US"/>
        </a:p>
      </dgm:t>
    </dgm:pt>
    <dgm:pt modelId="{C73EAB97-AA45-46CA-97E3-ED68D5D3AD23}">
      <dgm:prSet/>
      <dgm:spPr/>
      <dgm:t>
        <a:bodyPr/>
        <a:lstStyle/>
        <a:p>
          <a:r>
            <a:rPr lang="en-IN"/>
            <a:t>Batch processing and caching for optimization</a:t>
          </a:r>
          <a:endParaRPr lang="en-US"/>
        </a:p>
      </dgm:t>
    </dgm:pt>
    <dgm:pt modelId="{036D93E8-EEB7-470D-80E4-8466AA4B2BF2}" type="parTrans" cxnId="{3996C559-C01A-444A-835D-990844B85E0E}">
      <dgm:prSet/>
      <dgm:spPr/>
      <dgm:t>
        <a:bodyPr/>
        <a:lstStyle/>
        <a:p>
          <a:endParaRPr lang="en-US"/>
        </a:p>
      </dgm:t>
    </dgm:pt>
    <dgm:pt modelId="{E8E3AD32-A3F3-4A15-B7A2-7881CD99700C}" type="sibTrans" cxnId="{3996C559-C01A-444A-835D-990844B85E0E}">
      <dgm:prSet/>
      <dgm:spPr/>
      <dgm:t>
        <a:bodyPr/>
        <a:lstStyle/>
        <a:p>
          <a:endParaRPr lang="en-US"/>
        </a:p>
      </dgm:t>
    </dgm:pt>
    <dgm:pt modelId="{7D9946FC-D2C4-4B01-BA96-F95EAFAC5C07}" type="pres">
      <dgm:prSet presAssocID="{2E9EB841-02EE-4E21-AACA-F4C6C00D173C}" presName="linear" presStyleCnt="0">
        <dgm:presLayoutVars>
          <dgm:animLvl val="lvl"/>
          <dgm:resizeHandles val="exact"/>
        </dgm:presLayoutVars>
      </dgm:prSet>
      <dgm:spPr/>
    </dgm:pt>
    <dgm:pt modelId="{D8BB16E3-D5A0-4776-9980-48C115B6F87F}" type="pres">
      <dgm:prSet presAssocID="{6C963FF8-C703-484E-BDF0-0BB1FE04435F}" presName="parentText" presStyleLbl="node1" presStyleIdx="0" presStyleCnt="3">
        <dgm:presLayoutVars>
          <dgm:chMax val="0"/>
          <dgm:bulletEnabled val="1"/>
        </dgm:presLayoutVars>
      </dgm:prSet>
      <dgm:spPr/>
    </dgm:pt>
    <dgm:pt modelId="{7B15F13C-188A-4DF8-96E1-24C436C39722}" type="pres">
      <dgm:prSet presAssocID="{6C963FF8-C703-484E-BDF0-0BB1FE04435F}" presName="childText" presStyleLbl="revTx" presStyleIdx="0" presStyleCnt="3">
        <dgm:presLayoutVars>
          <dgm:bulletEnabled val="1"/>
        </dgm:presLayoutVars>
      </dgm:prSet>
      <dgm:spPr/>
    </dgm:pt>
    <dgm:pt modelId="{6D346186-EF2A-4F36-82C5-D3287ED98514}" type="pres">
      <dgm:prSet presAssocID="{17DAD429-0CDF-4CF8-9C23-8C540AB8793B}" presName="parentText" presStyleLbl="node1" presStyleIdx="1" presStyleCnt="3">
        <dgm:presLayoutVars>
          <dgm:chMax val="0"/>
          <dgm:bulletEnabled val="1"/>
        </dgm:presLayoutVars>
      </dgm:prSet>
      <dgm:spPr/>
    </dgm:pt>
    <dgm:pt modelId="{097DC85E-FABB-4B53-BA55-F0A138511F4D}" type="pres">
      <dgm:prSet presAssocID="{17DAD429-0CDF-4CF8-9C23-8C540AB8793B}" presName="childText" presStyleLbl="revTx" presStyleIdx="1" presStyleCnt="3">
        <dgm:presLayoutVars>
          <dgm:bulletEnabled val="1"/>
        </dgm:presLayoutVars>
      </dgm:prSet>
      <dgm:spPr/>
    </dgm:pt>
    <dgm:pt modelId="{1B769DDD-0FF3-45B4-800F-6F6E0380D86C}" type="pres">
      <dgm:prSet presAssocID="{7F8F45A4-496F-4E58-806B-0621093751C7}" presName="parentText" presStyleLbl="node1" presStyleIdx="2" presStyleCnt="3">
        <dgm:presLayoutVars>
          <dgm:chMax val="0"/>
          <dgm:bulletEnabled val="1"/>
        </dgm:presLayoutVars>
      </dgm:prSet>
      <dgm:spPr/>
    </dgm:pt>
    <dgm:pt modelId="{1F57F525-4625-4E9A-9FFE-E5B906ED0F8F}" type="pres">
      <dgm:prSet presAssocID="{7F8F45A4-496F-4E58-806B-0621093751C7}" presName="childText" presStyleLbl="revTx" presStyleIdx="2" presStyleCnt="3">
        <dgm:presLayoutVars>
          <dgm:bulletEnabled val="1"/>
        </dgm:presLayoutVars>
      </dgm:prSet>
      <dgm:spPr/>
    </dgm:pt>
  </dgm:ptLst>
  <dgm:cxnLst>
    <dgm:cxn modelId="{62B83D18-3E05-4C08-ADCF-37BDCC1EBAE4}" srcId="{6C963FF8-C703-484E-BDF0-0BB1FE04435F}" destId="{26F7C6BC-3886-458B-839A-C990B6DED3B3}" srcOrd="1" destOrd="0" parTransId="{EF572C55-667A-4465-8956-EA30E55025BA}" sibTransId="{42F910DE-0691-4B5C-A599-589D6A08BB54}"/>
    <dgm:cxn modelId="{774D7B5F-E32C-45FC-91AE-0B76701A56B0}" type="presOf" srcId="{7F8F45A4-496F-4E58-806B-0621093751C7}" destId="{1B769DDD-0FF3-45B4-800F-6F6E0380D86C}" srcOrd="0" destOrd="0" presId="urn:microsoft.com/office/officeart/2005/8/layout/vList2"/>
    <dgm:cxn modelId="{D962D248-6C84-4A6C-8B1C-75CAA79CEB08}" srcId="{2E9EB841-02EE-4E21-AACA-F4C6C00D173C}" destId="{7F8F45A4-496F-4E58-806B-0621093751C7}" srcOrd="2" destOrd="0" parTransId="{F24E9D16-A8E6-450E-B7D5-513EAD351818}" sibTransId="{3E8F4394-560A-4D75-A5A2-AC0D07700955}"/>
    <dgm:cxn modelId="{3996C559-C01A-444A-835D-990844B85E0E}" srcId="{7F8F45A4-496F-4E58-806B-0621093751C7}" destId="{C73EAB97-AA45-46CA-97E3-ED68D5D3AD23}" srcOrd="1" destOrd="0" parTransId="{036D93E8-EEB7-470D-80E4-8466AA4B2BF2}" sibTransId="{E8E3AD32-A3F3-4A15-B7A2-7881CD99700C}"/>
    <dgm:cxn modelId="{4BB26F5A-444C-4E38-97B4-75B75E654B4B}" srcId="{17DAD429-0CDF-4CF8-9C23-8C540AB8793B}" destId="{B62F8672-4178-4DDD-B415-B4E8BB11FD3C}" srcOrd="1" destOrd="0" parTransId="{8FCFA4C4-FD9B-4530-8D76-05CB383339DA}" sibTransId="{13EFD868-5B94-42EE-9846-ED59DB8F6B75}"/>
    <dgm:cxn modelId="{812F548A-E79C-4B65-9966-5761F2268EF0}" srcId="{17DAD429-0CDF-4CF8-9C23-8C540AB8793B}" destId="{CFE417AA-9D5D-46EC-B545-BCEA31208F6C}" srcOrd="0" destOrd="0" parTransId="{2455DCE3-450C-44A5-B12F-DD915BF3EFC6}" sibTransId="{8ADB5441-A5F6-4BEE-A295-3B9E6F331B51}"/>
    <dgm:cxn modelId="{DF4ABD94-8C41-460F-9037-DA9E89D11BD6}" srcId="{7F8F45A4-496F-4E58-806B-0621093751C7}" destId="{4487ED00-618D-4529-BB45-550FD15752D6}" srcOrd="0" destOrd="0" parTransId="{E2F8CB61-A9C6-4BBC-82C3-63348D3DCED5}" sibTransId="{CA5417B9-4FE7-41BC-BB1B-D070D318B835}"/>
    <dgm:cxn modelId="{82918B9D-DE5F-4237-975D-D72A4B5DFC3D}" type="presOf" srcId="{17DAD429-0CDF-4CF8-9C23-8C540AB8793B}" destId="{6D346186-EF2A-4F36-82C5-D3287ED98514}" srcOrd="0" destOrd="0" presId="urn:microsoft.com/office/officeart/2005/8/layout/vList2"/>
    <dgm:cxn modelId="{39B64BA0-8B70-4E5B-B194-33607F96F8C9}" type="presOf" srcId="{CFE417AA-9D5D-46EC-B545-BCEA31208F6C}" destId="{097DC85E-FABB-4B53-BA55-F0A138511F4D}" srcOrd="0" destOrd="0" presId="urn:microsoft.com/office/officeart/2005/8/layout/vList2"/>
    <dgm:cxn modelId="{E60CC3A7-3976-4E62-B59F-B9BF8B382523}" type="presOf" srcId="{C73EAB97-AA45-46CA-97E3-ED68D5D3AD23}" destId="{1F57F525-4625-4E9A-9FFE-E5B906ED0F8F}" srcOrd="0" destOrd="1" presId="urn:microsoft.com/office/officeart/2005/8/layout/vList2"/>
    <dgm:cxn modelId="{0B9E3DB3-07E0-4517-978F-51396717A874}" type="presOf" srcId="{4487ED00-618D-4529-BB45-550FD15752D6}" destId="{1F57F525-4625-4E9A-9FFE-E5B906ED0F8F}" srcOrd="0" destOrd="0" presId="urn:microsoft.com/office/officeart/2005/8/layout/vList2"/>
    <dgm:cxn modelId="{449516B6-5086-445A-A25D-FA7F5AB43E4B}" type="presOf" srcId="{6C963FF8-C703-484E-BDF0-0BB1FE04435F}" destId="{D8BB16E3-D5A0-4776-9980-48C115B6F87F}" srcOrd="0" destOrd="0" presId="urn:microsoft.com/office/officeart/2005/8/layout/vList2"/>
    <dgm:cxn modelId="{CDDE35BA-794E-40FE-9D73-12C7DAA352BC}" type="presOf" srcId="{F1698EE9-655D-455B-AC5A-AEFF9A8887A2}" destId="{7B15F13C-188A-4DF8-96E1-24C436C39722}" srcOrd="0" destOrd="0" presId="urn:microsoft.com/office/officeart/2005/8/layout/vList2"/>
    <dgm:cxn modelId="{5791C8C0-EAB8-4BEB-AC12-442A80CACC29}" srcId="{2E9EB841-02EE-4E21-AACA-F4C6C00D173C}" destId="{17DAD429-0CDF-4CF8-9C23-8C540AB8793B}" srcOrd="1" destOrd="0" parTransId="{E3CA8CBA-742C-43D8-A69F-490BFB806945}" sibTransId="{5E9F205F-806B-4FF3-8FEB-DFA8555D4F4E}"/>
    <dgm:cxn modelId="{C45EC9C8-3DC6-429E-9481-30A6BAA5A939}" type="presOf" srcId="{26F7C6BC-3886-458B-839A-C990B6DED3B3}" destId="{7B15F13C-188A-4DF8-96E1-24C436C39722}" srcOrd="0" destOrd="1" presId="urn:microsoft.com/office/officeart/2005/8/layout/vList2"/>
    <dgm:cxn modelId="{7D40A0CC-81C5-4D67-945A-60B7AC9CF147}" srcId="{2E9EB841-02EE-4E21-AACA-F4C6C00D173C}" destId="{6C963FF8-C703-484E-BDF0-0BB1FE04435F}" srcOrd="0" destOrd="0" parTransId="{90923135-3C8A-4833-9963-B1ECDD8F3E6B}" sibTransId="{D66A7AA5-5617-444F-93B9-B0412622F560}"/>
    <dgm:cxn modelId="{7C57CBD3-6C23-4775-B87A-E6CDFB891534}" srcId="{6C963FF8-C703-484E-BDF0-0BB1FE04435F}" destId="{F1698EE9-655D-455B-AC5A-AEFF9A8887A2}" srcOrd="0" destOrd="0" parTransId="{1CF2BC21-C689-4772-B4A4-2CD42A2E1B7B}" sibTransId="{FD4AAD6B-85B2-44C2-B5A7-662D5A6AD059}"/>
    <dgm:cxn modelId="{569599D8-E5D4-4ED1-AFBE-3528FAD053FD}" type="presOf" srcId="{2E9EB841-02EE-4E21-AACA-F4C6C00D173C}" destId="{7D9946FC-D2C4-4B01-BA96-F95EAFAC5C07}" srcOrd="0" destOrd="0" presId="urn:microsoft.com/office/officeart/2005/8/layout/vList2"/>
    <dgm:cxn modelId="{2C115CFF-D01E-4752-B864-D6938BD6BDC0}" type="presOf" srcId="{B62F8672-4178-4DDD-B415-B4E8BB11FD3C}" destId="{097DC85E-FABB-4B53-BA55-F0A138511F4D}" srcOrd="0" destOrd="1" presId="urn:microsoft.com/office/officeart/2005/8/layout/vList2"/>
    <dgm:cxn modelId="{78445A84-F039-41E2-9B58-9743C9C8DA91}" type="presParOf" srcId="{7D9946FC-D2C4-4B01-BA96-F95EAFAC5C07}" destId="{D8BB16E3-D5A0-4776-9980-48C115B6F87F}" srcOrd="0" destOrd="0" presId="urn:microsoft.com/office/officeart/2005/8/layout/vList2"/>
    <dgm:cxn modelId="{B357B921-E772-4DBE-92F3-5E35703A50CA}" type="presParOf" srcId="{7D9946FC-D2C4-4B01-BA96-F95EAFAC5C07}" destId="{7B15F13C-188A-4DF8-96E1-24C436C39722}" srcOrd="1" destOrd="0" presId="urn:microsoft.com/office/officeart/2005/8/layout/vList2"/>
    <dgm:cxn modelId="{B9A134DD-630E-422C-967F-855EDD82C90B}" type="presParOf" srcId="{7D9946FC-D2C4-4B01-BA96-F95EAFAC5C07}" destId="{6D346186-EF2A-4F36-82C5-D3287ED98514}" srcOrd="2" destOrd="0" presId="urn:microsoft.com/office/officeart/2005/8/layout/vList2"/>
    <dgm:cxn modelId="{B412A249-FE35-46E1-82F7-76F2B3011B38}" type="presParOf" srcId="{7D9946FC-D2C4-4B01-BA96-F95EAFAC5C07}" destId="{097DC85E-FABB-4B53-BA55-F0A138511F4D}" srcOrd="3" destOrd="0" presId="urn:microsoft.com/office/officeart/2005/8/layout/vList2"/>
    <dgm:cxn modelId="{BEC34A04-3192-4DF6-B1F1-59E72B900EDF}" type="presParOf" srcId="{7D9946FC-D2C4-4B01-BA96-F95EAFAC5C07}" destId="{1B769DDD-0FF3-45B4-800F-6F6E0380D86C}" srcOrd="4" destOrd="0" presId="urn:microsoft.com/office/officeart/2005/8/layout/vList2"/>
    <dgm:cxn modelId="{55912464-B908-41C1-8FE7-BECD35024ABE}" type="presParOf" srcId="{7D9946FC-D2C4-4B01-BA96-F95EAFAC5C07}" destId="{1F57F525-4625-4E9A-9FFE-E5B906ED0F8F}"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E0494D-D9A2-4A2B-938A-C7B7042AAB0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0190AE5E-51F6-45A4-B7E3-BC1802D6734E}">
      <dgm:prSet/>
      <dgm:spPr/>
      <dgm:t>
        <a:bodyPr/>
        <a:lstStyle/>
        <a:p>
          <a:r>
            <a:rPr lang="en-IN" b="1"/>
            <a:t>Vector Storage</a:t>
          </a:r>
          <a:r>
            <a:rPr lang="en-IN"/>
            <a:t>: Persists embeddings for future retrieval </a:t>
          </a:r>
          <a:endParaRPr lang="en-US"/>
        </a:p>
      </dgm:t>
    </dgm:pt>
    <dgm:pt modelId="{552312A5-F39E-45AE-848A-FC166D77060E}" type="parTrans" cxnId="{6A789B6A-1D13-46CA-A55D-3E873076FC1E}">
      <dgm:prSet/>
      <dgm:spPr/>
      <dgm:t>
        <a:bodyPr/>
        <a:lstStyle/>
        <a:p>
          <a:endParaRPr lang="en-US"/>
        </a:p>
      </dgm:t>
    </dgm:pt>
    <dgm:pt modelId="{9630B98C-EEB5-4B15-B827-94CF563725D6}" type="sibTrans" cxnId="{6A789B6A-1D13-46CA-A55D-3E873076FC1E}">
      <dgm:prSet/>
      <dgm:spPr/>
      <dgm:t>
        <a:bodyPr/>
        <a:lstStyle/>
        <a:p>
          <a:endParaRPr lang="en-US"/>
        </a:p>
      </dgm:t>
    </dgm:pt>
    <dgm:pt modelId="{39995C1D-FDE3-4529-B577-80A62AE6AC70}">
      <dgm:prSet/>
      <dgm:spPr/>
      <dgm:t>
        <a:bodyPr/>
        <a:lstStyle/>
        <a:p>
          <a:r>
            <a:rPr lang="en-IN"/>
            <a:t>Implementation: VectorStoreFactory with multiple DB options</a:t>
          </a:r>
          <a:endParaRPr lang="en-US"/>
        </a:p>
      </dgm:t>
    </dgm:pt>
    <dgm:pt modelId="{3701DBAE-57FC-4882-B60D-00229E9E84AF}" type="parTrans" cxnId="{DBBDBA54-729E-4BEF-8EC3-5947617FA5FE}">
      <dgm:prSet/>
      <dgm:spPr/>
      <dgm:t>
        <a:bodyPr/>
        <a:lstStyle/>
        <a:p>
          <a:endParaRPr lang="en-US"/>
        </a:p>
      </dgm:t>
    </dgm:pt>
    <dgm:pt modelId="{860672B5-E828-427C-8AFF-F06A6F61B456}" type="sibTrans" cxnId="{DBBDBA54-729E-4BEF-8EC3-5947617FA5FE}">
      <dgm:prSet/>
      <dgm:spPr/>
      <dgm:t>
        <a:bodyPr/>
        <a:lstStyle/>
        <a:p>
          <a:endParaRPr lang="en-US"/>
        </a:p>
      </dgm:t>
    </dgm:pt>
    <dgm:pt modelId="{9A0D2A37-C5D1-42E2-B583-8B82C23C9CA0}">
      <dgm:prSet/>
      <dgm:spPr/>
      <dgm:t>
        <a:bodyPr/>
        <a:lstStyle/>
        <a:p>
          <a:r>
            <a:rPr lang="en-IN"/>
            <a:t>Abstraction layer for consistent interface across DB types</a:t>
          </a:r>
          <a:endParaRPr lang="en-US"/>
        </a:p>
      </dgm:t>
    </dgm:pt>
    <dgm:pt modelId="{41A5E81E-0602-447E-8FA3-C5FE150C7DDF}" type="parTrans" cxnId="{F7DA3CB2-05E3-4093-966F-FCC9EB83620D}">
      <dgm:prSet/>
      <dgm:spPr/>
      <dgm:t>
        <a:bodyPr/>
        <a:lstStyle/>
        <a:p>
          <a:endParaRPr lang="en-US"/>
        </a:p>
      </dgm:t>
    </dgm:pt>
    <dgm:pt modelId="{98831447-E3E0-4BF7-BF55-C0401B291DE0}" type="sibTrans" cxnId="{F7DA3CB2-05E3-4093-966F-FCC9EB83620D}">
      <dgm:prSet/>
      <dgm:spPr/>
      <dgm:t>
        <a:bodyPr/>
        <a:lstStyle/>
        <a:p>
          <a:endParaRPr lang="en-US"/>
        </a:p>
      </dgm:t>
    </dgm:pt>
    <dgm:pt modelId="{12FDA9BB-8B34-48C6-919D-0D7322CA51A1}">
      <dgm:prSet/>
      <dgm:spPr/>
      <dgm:t>
        <a:bodyPr/>
        <a:lstStyle/>
        <a:p>
          <a:r>
            <a:rPr lang="en-IN" b="1"/>
            <a:t>Vector Search</a:t>
          </a:r>
          <a:r>
            <a:rPr lang="en-IN"/>
            <a:t>: Efficiently finds similar vectors </a:t>
          </a:r>
          <a:endParaRPr lang="en-US"/>
        </a:p>
      </dgm:t>
    </dgm:pt>
    <dgm:pt modelId="{FE3E2F56-1195-4DC3-B7E6-70777CE25F8F}" type="parTrans" cxnId="{347B5294-6D95-4DA5-B2F3-4280E8D5A9E3}">
      <dgm:prSet/>
      <dgm:spPr/>
      <dgm:t>
        <a:bodyPr/>
        <a:lstStyle/>
        <a:p>
          <a:endParaRPr lang="en-US"/>
        </a:p>
      </dgm:t>
    </dgm:pt>
    <dgm:pt modelId="{A2114C67-2615-41F0-BF26-0367D052563B}" type="sibTrans" cxnId="{347B5294-6D95-4DA5-B2F3-4280E8D5A9E3}">
      <dgm:prSet/>
      <dgm:spPr/>
      <dgm:t>
        <a:bodyPr/>
        <a:lstStyle/>
        <a:p>
          <a:endParaRPr lang="en-US"/>
        </a:p>
      </dgm:t>
    </dgm:pt>
    <dgm:pt modelId="{F2CB15BD-3800-4FFF-A8A2-B35AFE213D60}">
      <dgm:prSet/>
      <dgm:spPr/>
      <dgm:t>
        <a:bodyPr/>
        <a:lstStyle/>
        <a:p>
          <a:r>
            <a:rPr lang="en-IN"/>
            <a:t>Implementation: SearchFactory with multiple algorithm options</a:t>
          </a:r>
          <a:endParaRPr lang="en-US"/>
        </a:p>
      </dgm:t>
    </dgm:pt>
    <dgm:pt modelId="{F8F76962-8B58-4815-9562-62A1D22C0A1D}" type="parTrans" cxnId="{C9265CE8-2B9E-4351-ABDB-649B5275C977}">
      <dgm:prSet/>
      <dgm:spPr/>
      <dgm:t>
        <a:bodyPr/>
        <a:lstStyle/>
        <a:p>
          <a:endParaRPr lang="en-US"/>
        </a:p>
      </dgm:t>
    </dgm:pt>
    <dgm:pt modelId="{0959CB21-449B-4707-A19C-1B05E4D5D261}" type="sibTrans" cxnId="{C9265CE8-2B9E-4351-ABDB-649B5275C977}">
      <dgm:prSet/>
      <dgm:spPr/>
      <dgm:t>
        <a:bodyPr/>
        <a:lstStyle/>
        <a:p>
          <a:endParaRPr lang="en-US"/>
        </a:p>
      </dgm:t>
    </dgm:pt>
    <dgm:pt modelId="{A6AE43AA-C457-4571-86A9-F1C88D3DFE7E}">
      <dgm:prSet/>
      <dgm:spPr/>
      <dgm:t>
        <a:bodyPr/>
        <a:lstStyle/>
        <a:p>
          <a:r>
            <a:rPr lang="en-IN"/>
            <a:t>Configurable parameters for accuracy vs. speed tradeoffs</a:t>
          </a:r>
          <a:endParaRPr lang="en-US"/>
        </a:p>
      </dgm:t>
    </dgm:pt>
    <dgm:pt modelId="{9866AC82-2CC3-4356-B2DD-A7659997492B}" type="parTrans" cxnId="{480F9D62-A805-4D09-BE5E-568553E12EBB}">
      <dgm:prSet/>
      <dgm:spPr/>
      <dgm:t>
        <a:bodyPr/>
        <a:lstStyle/>
        <a:p>
          <a:endParaRPr lang="en-US"/>
        </a:p>
      </dgm:t>
    </dgm:pt>
    <dgm:pt modelId="{FCC2E0A5-14B6-4CEF-9ECB-774F70C4BCE8}" type="sibTrans" cxnId="{480F9D62-A805-4D09-BE5E-568553E12EBB}">
      <dgm:prSet/>
      <dgm:spPr/>
      <dgm:t>
        <a:bodyPr/>
        <a:lstStyle/>
        <a:p>
          <a:endParaRPr lang="en-US"/>
        </a:p>
      </dgm:t>
    </dgm:pt>
    <dgm:pt modelId="{958B2C4A-6AAC-422F-9224-E4E74803059F}">
      <dgm:prSet/>
      <dgm:spPr/>
      <dgm:t>
        <a:bodyPr/>
        <a:lstStyle/>
        <a:p>
          <a:r>
            <a:rPr lang="en-IN" b="1"/>
            <a:t>RAG Pipeline</a:t>
          </a:r>
          <a:r>
            <a:rPr lang="en-IN"/>
            <a:t>: Orchestrates the overall process </a:t>
          </a:r>
          <a:endParaRPr lang="en-US"/>
        </a:p>
      </dgm:t>
    </dgm:pt>
    <dgm:pt modelId="{CFD42EDB-8C0A-4FB7-A445-FEB9AE4967C9}" type="parTrans" cxnId="{62089C5C-1A08-4550-BF53-22F2972D1D90}">
      <dgm:prSet/>
      <dgm:spPr/>
      <dgm:t>
        <a:bodyPr/>
        <a:lstStyle/>
        <a:p>
          <a:endParaRPr lang="en-US"/>
        </a:p>
      </dgm:t>
    </dgm:pt>
    <dgm:pt modelId="{BB2DF269-3B71-4217-B22E-DF0398F91B0F}" type="sibTrans" cxnId="{62089C5C-1A08-4550-BF53-22F2972D1D90}">
      <dgm:prSet/>
      <dgm:spPr/>
      <dgm:t>
        <a:bodyPr/>
        <a:lstStyle/>
        <a:p>
          <a:endParaRPr lang="en-US"/>
        </a:p>
      </dgm:t>
    </dgm:pt>
    <dgm:pt modelId="{BFE7DFA2-D8D9-436C-A27B-0DF0CE14D65B}">
      <dgm:prSet/>
      <dgm:spPr/>
      <dgm:t>
        <a:bodyPr/>
        <a:lstStyle/>
        <a:p>
          <a:r>
            <a:rPr lang="en-IN"/>
            <a:t>Implementation: RAGPipeline class with configurable parameters</a:t>
          </a:r>
          <a:endParaRPr lang="en-US"/>
        </a:p>
      </dgm:t>
    </dgm:pt>
    <dgm:pt modelId="{0C687F03-03E6-42CF-B41F-634B2119CFA6}" type="parTrans" cxnId="{AEC0CE32-3572-44CE-9FA8-F32CA5D2DA8D}">
      <dgm:prSet/>
      <dgm:spPr/>
      <dgm:t>
        <a:bodyPr/>
        <a:lstStyle/>
        <a:p>
          <a:endParaRPr lang="en-US"/>
        </a:p>
      </dgm:t>
    </dgm:pt>
    <dgm:pt modelId="{CA9ABFF2-3D96-421E-BEE7-54A506E653CB}" type="sibTrans" cxnId="{AEC0CE32-3572-44CE-9FA8-F32CA5D2DA8D}">
      <dgm:prSet/>
      <dgm:spPr/>
      <dgm:t>
        <a:bodyPr/>
        <a:lstStyle/>
        <a:p>
          <a:endParaRPr lang="en-US"/>
        </a:p>
      </dgm:t>
    </dgm:pt>
    <dgm:pt modelId="{66FED7C9-4995-4DCA-A84F-0846FE67573C}">
      <dgm:prSet/>
      <dgm:spPr/>
      <dgm:t>
        <a:bodyPr/>
        <a:lstStyle/>
        <a:p>
          <a:r>
            <a:rPr lang="en-IN"/>
            <a:t>Manages initialization, document processing, and response generation</a:t>
          </a:r>
          <a:endParaRPr lang="en-US"/>
        </a:p>
      </dgm:t>
    </dgm:pt>
    <dgm:pt modelId="{6B55DC38-D8AF-4C0A-BCC6-255F1DEE68C0}" type="parTrans" cxnId="{1C11DEE5-33CE-4456-B27E-19D0203CAFD1}">
      <dgm:prSet/>
      <dgm:spPr/>
      <dgm:t>
        <a:bodyPr/>
        <a:lstStyle/>
        <a:p>
          <a:endParaRPr lang="en-US"/>
        </a:p>
      </dgm:t>
    </dgm:pt>
    <dgm:pt modelId="{7B761BF0-D748-41BB-AE97-53A049821AC6}" type="sibTrans" cxnId="{1C11DEE5-33CE-4456-B27E-19D0203CAFD1}">
      <dgm:prSet/>
      <dgm:spPr/>
      <dgm:t>
        <a:bodyPr/>
        <a:lstStyle/>
        <a:p>
          <a:endParaRPr lang="en-US"/>
        </a:p>
      </dgm:t>
    </dgm:pt>
    <dgm:pt modelId="{D12B1725-ADC0-447F-83F8-1A8AD9488931}" type="pres">
      <dgm:prSet presAssocID="{16E0494D-D9A2-4A2B-938A-C7B7042AAB01}" presName="linear" presStyleCnt="0">
        <dgm:presLayoutVars>
          <dgm:animLvl val="lvl"/>
          <dgm:resizeHandles val="exact"/>
        </dgm:presLayoutVars>
      </dgm:prSet>
      <dgm:spPr/>
    </dgm:pt>
    <dgm:pt modelId="{5801FA2C-920D-44A7-AC8E-D0D82DBBDC51}" type="pres">
      <dgm:prSet presAssocID="{0190AE5E-51F6-45A4-B7E3-BC1802D6734E}" presName="parentText" presStyleLbl="node1" presStyleIdx="0" presStyleCnt="3">
        <dgm:presLayoutVars>
          <dgm:chMax val="0"/>
          <dgm:bulletEnabled val="1"/>
        </dgm:presLayoutVars>
      </dgm:prSet>
      <dgm:spPr/>
    </dgm:pt>
    <dgm:pt modelId="{6967A4E2-69F2-4423-918D-FD548E394F10}" type="pres">
      <dgm:prSet presAssocID="{0190AE5E-51F6-45A4-B7E3-BC1802D6734E}" presName="childText" presStyleLbl="revTx" presStyleIdx="0" presStyleCnt="3">
        <dgm:presLayoutVars>
          <dgm:bulletEnabled val="1"/>
        </dgm:presLayoutVars>
      </dgm:prSet>
      <dgm:spPr/>
    </dgm:pt>
    <dgm:pt modelId="{2214D712-2426-4C23-8389-496C94C9661D}" type="pres">
      <dgm:prSet presAssocID="{12FDA9BB-8B34-48C6-919D-0D7322CA51A1}" presName="parentText" presStyleLbl="node1" presStyleIdx="1" presStyleCnt="3">
        <dgm:presLayoutVars>
          <dgm:chMax val="0"/>
          <dgm:bulletEnabled val="1"/>
        </dgm:presLayoutVars>
      </dgm:prSet>
      <dgm:spPr/>
    </dgm:pt>
    <dgm:pt modelId="{7FD60D59-C32D-48CE-B1A0-9019BB847A45}" type="pres">
      <dgm:prSet presAssocID="{12FDA9BB-8B34-48C6-919D-0D7322CA51A1}" presName="childText" presStyleLbl="revTx" presStyleIdx="1" presStyleCnt="3">
        <dgm:presLayoutVars>
          <dgm:bulletEnabled val="1"/>
        </dgm:presLayoutVars>
      </dgm:prSet>
      <dgm:spPr/>
    </dgm:pt>
    <dgm:pt modelId="{65B6C0A9-999E-4BE5-9397-5882F6F06272}" type="pres">
      <dgm:prSet presAssocID="{958B2C4A-6AAC-422F-9224-E4E74803059F}" presName="parentText" presStyleLbl="node1" presStyleIdx="2" presStyleCnt="3">
        <dgm:presLayoutVars>
          <dgm:chMax val="0"/>
          <dgm:bulletEnabled val="1"/>
        </dgm:presLayoutVars>
      </dgm:prSet>
      <dgm:spPr/>
    </dgm:pt>
    <dgm:pt modelId="{0DC99DC1-5DB8-4F3C-B052-2B5CE30C02A7}" type="pres">
      <dgm:prSet presAssocID="{958B2C4A-6AAC-422F-9224-E4E74803059F}" presName="childText" presStyleLbl="revTx" presStyleIdx="2" presStyleCnt="3">
        <dgm:presLayoutVars>
          <dgm:bulletEnabled val="1"/>
        </dgm:presLayoutVars>
      </dgm:prSet>
      <dgm:spPr/>
    </dgm:pt>
  </dgm:ptLst>
  <dgm:cxnLst>
    <dgm:cxn modelId="{82208006-5C54-4DC7-AFBB-940C441A4EA5}" type="presOf" srcId="{958B2C4A-6AAC-422F-9224-E4E74803059F}" destId="{65B6C0A9-999E-4BE5-9397-5882F6F06272}" srcOrd="0" destOrd="0" presId="urn:microsoft.com/office/officeart/2005/8/layout/vList2"/>
    <dgm:cxn modelId="{AEC0CE32-3572-44CE-9FA8-F32CA5D2DA8D}" srcId="{958B2C4A-6AAC-422F-9224-E4E74803059F}" destId="{BFE7DFA2-D8D9-436C-A27B-0DF0CE14D65B}" srcOrd="0" destOrd="0" parTransId="{0C687F03-03E6-42CF-B41F-634B2119CFA6}" sibTransId="{CA9ABFF2-3D96-421E-BEE7-54A506E653CB}"/>
    <dgm:cxn modelId="{476FB540-593A-444D-BB9F-64F13C0DA370}" type="presOf" srcId="{66FED7C9-4995-4DCA-A84F-0846FE67573C}" destId="{0DC99DC1-5DB8-4F3C-B052-2B5CE30C02A7}" srcOrd="0" destOrd="1" presId="urn:microsoft.com/office/officeart/2005/8/layout/vList2"/>
    <dgm:cxn modelId="{62089C5C-1A08-4550-BF53-22F2972D1D90}" srcId="{16E0494D-D9A2-4A2B-938A-C7B7042AAB01}" destId="{958B2C4A-6AAC-422F-9224-E4E74803059F}" srcOrd="2" destOrd="0" parTransId="{CFD42EDB-8C0A-4FB7-A445-FEB9AE4967C9}" sibTransId="{BB2DF269-3B71-4217-B22E-DF0398F91B0F}"/>
    <dgm:cxn modelId="{480F9D62-A805-4D09-BE5E-568553E12EBB}" srcId="{12FDA9BB-8B34-48C6-919D-0D7322CA51A1}" destId="{A6AE43AA-C457-4571-86A9-F1C88D3DFE7E}" srcOrd="1" destOrd="0" parTransId="{9866AC82-2CC3-4356-B2DD-A7659997492B}" sibTransId="{FCC2E0A5-14B6-4CEF-9ECB-774F70C4BCE8}"/>
    <dgm:cxn modelId="{6A789B6A-1D13-46CA-A55D-3E873076FC1E}" srcId="{16E0494D-D9A2-4A2B-938A-C7B7042AAB01}" destId="{0190AE5E-51F6-45A4-B7E3-BC1802D6734E}" srcOrd="0" destOrd="0" parTransId="{552312A5-F39E-45AE-848A-FC166D77060E}" sibTransId="{9630B98C-EEB5-4B15-B827-94CF563725D6}"/>
    <dgm:cxn modelId="{5BC1D653-DBD5-4CC4-8859-2895125641D5}" type="presOf" srcId="{BFE7DFA2-D8D9-436C-A27B-0DF0CE14D65B}" destId="{0DC99DC1-5DB8-4F3C-B052-2B5CE30C02A7}" srcOrd="0" destOrd="0" presId="urn:microsoft.com/office/officeart/2005/8/layout/vList2"/>
    <dgm:cxn modelId="{DBBDBA54-729E-4BEF-8EC3-5947617FA5FE}" srcId="{0190AE5E-51F6-45A4-B7E3-BC1802D6734E}" destId="{39995C1D-FDE3-4529-B577-80A62AE6AC70}" srcOrd="0" destOrd="0" parTransId="{3701DBAE-57FC-4882-B60D-00229E9E84AF}" sibTransId="{860672B5-E828-427C-8AFF-F06A6F61B456}"/>
    <dgm:cxn modelId="{BF6F9859-B611-48C2-A5D4-9F06BB93C4EA}" type="presOf" srcId="{39995C1D-FDE3-4529-B577-80A62AE6AC70}" destId="{6967A4E2-69F2-4423-918D-FD548E394F10}" srcOrd="0" destOrd="0" presId="urn:microsoft.com/office/officeart/2005/8/layout/vList2"/>
    <dgm:cxn modelId="{347B5294-6D95-4DA5-B2F3-4280E8D5A9E3}" srcId="{16E0494D-D9A2-4A2B-938A-C7B7042AAB01}" destId="{12FDA9BB-8B34-48C6-919D-0D7322CA51A1}" srcOrd="1" destOrd="0" parTransId="{FE3E2F56-1195-4DC3-B7E6-70777CE25F8F}" sibTransId="{A2114C67-2615-41F0-BF26-0367D052563B}"/>
    <dgm:cxn modelId="{F7DA3CB2-05E3-4093-966F-FCC9EB83620D}" srcId="{0190AE5E-51F6-45A4-B7E3-BC1802D6734E}" destId="{9A0D2A37-C5D1-42E2-B583-8B82C23C9CA0}" srcOrd="1" destOrd="0" parTransId="{41A5E81E-0602-447E-8FA3-C5FE150C7DDF}" sibTransId="{98831447-E3E0-4BF7-BF55-C0401B291DE0}"/>
    <dgm:cxn modelId="{91DBE0B4-66EF-4B23-ADE8-B5F9F5ABDCB7}" type="presOf" srcId="{0190AE5E-51F6-45A4-B7E3-BC1802D6734E}" destId="{5801FA2C-920D-44A7-AC8E-D0D82DBBDC51}" srcOrd="0" destOrd="0" presId="urn:microsoft.com/office/officeart/2005/8/layout/vList2"/>
    <dgm:cxn modelId="{E585A5C3-7473-41B5-9B9D-4F74178E0745}" type="presOf" srcId="{12FDA9BB-8B34-48C6-919D-0D7322CA51A1}" destId="{2214D712-2426-4C23-8389-496C94C9661D}" srcOrd="0" destOrd="0" presId="urn:microsoft.com/office/officeart/2005/8/layout/vList2"/>
    <dgm:cxn modelId="{B6433FCC-5DCC-4434-8EE8-3C24DCA145A9}" type="presOf" srcId="{A6AE43AA-C457-4571-86A9-F1C88D3DFE7E}" destId="{7FD60D59-C32D-48CE-B1A0-9019BB847A45}" srcOrd="0" destOrd="1" presId="urn:microsoft.com/office/officeart/2005/8/layout/vList2"/>
    <dgm:cxn modelId="{1C2107D0-58A1-4995-B74E-C446E598140D}" type="presOf" srcId="{F2CB15BD-3800-4FFF-A8A2-B35AFE213D60}" destId="{7FD60D59-C32D-48CE-B1A0-9019BB847A45}" srcOrd="0" destOrd="0" presId="urn:microsoft.com/office/officeart/2005/8/layout/vList2"/>
    <dgm:cxn modelId="{1C11DEE5-33CE-4456-B27E-19D0203CAFD1}" srcId="{958B2C4A-6AAC-422F-9224-E4E74803059F}" destId="{66FED7C9-4995-4DCA-A84F-0846FE67573C}" srcOrd="1" destOrd="0" parTransId="{6B55DC38-D8AF-4C0A-BCC6-255F1DEE68C0}" sibTransId="{7B761BF0-D748-41BB-AE97-53A049821AC6}"/>
    <dgm:cxn modelId="{C9265CE8-2B9E-4351-ABDB-649B5275C977}" srcId="{12FDA9BB-8B34-48C6-919D-0D7322CA51A1}" destId="{F2CB15BD-3800-4FFF-A8A2-B35AFE213D60}" srcOrd="0" destOrd="0" parTransId="{F8F76962-8B58-4815-9562-62A1D22C0A1D}" sibTransId="{0959CB21-449B-4707-A19C-1B05E4D5D261}"/>
    <dgm:cxn modelId="{6682DBF2-29A2-45DC-9706-E7E777C15CB4}" type="presOf" srcId="{9A0D2A37-C5D1-42E2-B583-8B82C23C9CA0}" destId="{6967A4E2-69F2-4423-918D-FD548E394F10}" srcOrd="0" destOrd="1" presId="urn:microsoft.com/office/officeart/2005/8/layout/vList2"/>
    <dgm:cxn modelId="{DA5A8BF7-CDEE-47E5-AADD-B30611198D56}" type="presOf" srcId="{16E0494D-D9A2-4A2B-938A-C7B7042AAB01}" destId="{D12B1725-ADC0-447F-83F8-1A8AD9488931}" srcOrd="0" destOrd="0" presId="urn:microsoft.com/office/officeart/2005/8/layout/vList2"/>
    <dgm:cxn modelId="{C1A6A438-30A1-4D1D-B882-693100AE3361}" type="presParOf" srcId="{D12B1725-ADC0-447F-83F8-1A8AD9488931}" destId="{5801FA2C-920D-44A7-AC8E-D0D82DBBDC51}" srcOrd="0" destOrd="0" presId="urn:microsoft.com/office/officeart/2005/8/layout/vList2"/>
    <dgm:cxn modelId="{397CC23B-8A56-4708-AC30-ED76146029FD}" type="presParOf" srcId="{D12B1725-ADC0-447F-83F8-1A8AD9488931}" destId="{6967A4E2-69F2-4423-918D-FD548E394F10}" srcOrd="1" destOrd="0" presId="urn:microsoft.com/office/officeart/2005/8/layout/vList2"/>
    <dgm:cxn modelId="{CA25ACE9-33C5-4943-9B52-D37A48318EB5}" type="presParOf" srcId="{D12B1725-ADC0-447F-83F8-1A8AD9488931}" destId="{2214D712-2426-4C23-8389-496C94C9661D}" srcOrd="2" destOrd="0" presId="urn:microsoft.com/office/officeart/2005/8/layout/vList2"/>
    <dgm:cxn modelId="{BF4CA07D-FD63-4C8E-86C9-2CFF2C8B5C9C}" type="presParOf" srcId="{D12B1725-ADC0-447F-83F8-1A8AD9488931}" destId="{7FD60D59-C32D-48CE-B1A0-9019BB847A45}" srcOrd="3" destOrd="0" presId="urn:microsoft.com/office/officeart/2005/8/layout/vList2"/>
    <dgm:cxn modelId="{E1E2E672-C031-4465-BAF4-8F403375982B}" type="presParOf" srcId="{D12B1725-ADC0-447F-83F8-1A8AD9488931}" destId="{65B6C0A9-999E-4BE5-9397-5882F6F06272}" srcOrd="4" destOrd="0" presId="urn:microsoft.com/office/officeart/2005/8/layout/vList2"/>
    <dgm:cxn modelId="{2D4E832B-81BB-4D7D-9145-EBCCA0BD5D24}" type="presParOf" srcId="{D12B1725-ADC0-447F-83F8-1A8AD9488931}" destId="{0DC99DC1-5DB8-4F3C-B052-2B5CE30C02A7}"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9BF11E-7293-44DD-A7E5-F9CB73BDEBD7}" type="doc">
      <dgm:prSet loTypeId="urn:microsoft.com/office/officeart/2009/3/layout/HorizontalOrganizationChart" loCatId="hierarchy" qsTypeId="urn:microsoft.com/office/officeart/2005/8/quickstyle/simple5" qsCatId="simple" csTypeId="urn:microsoft.com/office/officeart/2005/8/colors/accent1_2" csCatId="accent1"/>
      <dgm:spPr/>
      <dgm:t>
        <a:bodyPr/>
        <a:lstStyle/>
        <a:p>
          <a:endParaRPr lang="en-US"/>
        </a:p>
      </dgm:t>
    </dgm:pt>
    <dgm:pt modelId="{A97FE569-EB47-4583-945F-FFCDA2381771}">
      <dgm:prSet/>
      <dgm:spPr/>
      <dgm:t>
        <a:bodyPr/>
        <a:lstStyle/>
        <a:p>
          <a:r>
            <a:rPr lang="en-IN" b="1"/>
            <a:t>Embedding Models </a:t>
          </a:r>
          <a:endParaRPr lang="en-US"/>
        </a:p>
      </dgm:t>
    </dgm:pt>
    <dgm:pt modelId="{3AD9E42C-8D4C-4B7D-9378-145D2CD7DB1A}" type="parTrans" cxnId="{FC1D0A82-9DCE-4754-B42F-738996FD4FCE}">
      <dgm:prSet/>
      <dgm:spPr/>
      <dgm:t>
        <a:bodyPr/>
        <a:lstStyle/>
        <a:p>
          <a:endParaRPr lang="en-US"/>
        </a:p>
      </dgm:t>
    </dgm:pt>
    <dgm:pt modelId="{AAA95AB2-BEF5-4D14-ABC5-9B30793EEB98}" type="sibTrans" cxnId="{FC1D0A82-9DCE-4754-B42F-738996FD4FCE}">
      <dgm:prSet/>
      <dgm:spPr/>
      <dgm:t>
        <a:bodyPr/>
        <a:lstStyle/>
        <a:p>
          <a:endParaRPr lang="en-US"/>
        </a:p>
      </dgm:t>
    </dgm:pt>
    <dgm:pt modelId="{99C0F73B-440B-4ED6-80F8-6758E2584477}">
      <dgm:prSet/>
      <dgm:spPr/>
      <dgm:t>
        <a:bodyPr/>
        <a:lstStyle/>
        <a:p>
          <a:r>
            <a:rPr lang="en-IN" b="1"/>
            <a:t>Purpose: Convert text into dense vector representations</a:t>
          </a:r>
          <a:endParaRPr lang="en-US"/>
        </a:p>
      </dgm:t>
    </dgm:pt>
    <dgm:pt modelId="{E1CC395B-1397-4DB7-8841-62D8509F9206}" type="parTrans" cxnId="{5271FC4E-F047-4BE9-A7F5-7F6535F1149D}">
      <dgm:prSet/>
      <dgm:spPr/>
      <dgm:t>
        <a:bodyPr/>
        <a:lstStyle/>
        <a:p>
          <a:endParaRPr lang="en-US"/>
        </a:p>
      </dgm:t>
    </dgm:pt>
    <dgm:pt modelId="{5ECDD209-65E8-4726-95E5-2FD41767DA28}" type="sibTrans" cxnId="{5271FC4E-F047-4BE9-A7F5-7F6535F1149D}">
      <dgm:prSet/>
      <dgm:spPr/>
      <dgm:t>
        <a:bodyPr/>
        <a:lstStyle/>
        <a:p>
          <a:endParaRPr lang="en-US"/>
        </a:p>
      </dgm:t>
    </dgm:pt>
    <dgm:pt modelId="{941B03FC-C0AF-4ADC-8A01-43B6770B6EFD}">
      <dgm:prSet/>
      <dgm:spPr/>
      <dgm:t>
        <a:bodyPr/>
        <a:lstStyle/>
        <a:p>
          <a:r>
            <a:rPr lang="en-IN" b="1"/>
            <a:t>Implementation: EnhancedEmbeddingGenerator with model selection</a:t>
          </a:r>
          <a:endParaRPr lang="en-US"/>
        </a:p>
      </dgm:t>
    </dgm:pt>
    <dgm:pt modelId="{BD9D3EDE-C37D-498E-89D1-49A84F524EC8}" type="parTrans" cxnId="{97EED55C-7113-4CB0-A8D1-65F41F8537EB}">
      <dgm:prSet/>
      <dgm:spPr/>
      <dgm:t>
        <a:bodyPr/>
        <a:lstStyle/>
        <a:p>
          <a:endParaRPr lang="en-US"/>
        </a:p>
      </dgm:t>
    </dgm:pt>
    <dgm:pt modelId="{0D2405AE-7EDB-4069-8C9F-C4E30FEA7772}" type="sibTrans" cxnId="{97EED55C-7113-4CB0-A8D1-65F41F8537EB}">
      <dgm:prSet/>
      <dgm:spPr/>
      <dgm:t>
        <a:bodyPr/>
        <a:lstStyle/>
        <a:p>
          <a:endParaRPr lang="en-US"/>
        </a:p>
      </dgm:t>
    </dgm:pt>
    <dgm:pt modelId="{E636A9DF-0849-4F5C-AC8C-56E934D45E7E}">
      <dgm:prSet/>
      <dgm:spPr/>
      <dgm:t>
        <a:bodyPr/>
        <a:lstStyle/>
        <a:p>
          <a:r>
            <a:rPr lang="en-IN" b="1"/>
            <a:t>Base Class: BaseEmbeddingGenerator</a:t>
          </a:r>
          <a:endParaRPr lang="en-US"/>
        </a:p>
      </dgm:t>
    </dgm:pt>
    <dgm:pt modelId="{79FA1E23-4ACC-42CE-8D03-10050A27CC80}" type="parTrans" cxnId="{3C1A3A3E-07CD-4932-AC07-39D3911172B4}">
      <dgm:prSet/>
      <dgm:spPr/>
      <dgm:t>
        <a:bodyPr/>
        <a:lstStyle/>
        <a:p>
          <a:endParaRPr lang="en-US"/>
        </a:p>
      </dgm:t>
    </dgm:pt>
    <dgm:pt modelId="{8905E8D5-F9FF-459B-83A6-571176187AAA}" type="sibTrans" cxnId="{3C1A3A3E-07CD-4932-AC07-39D3911172B4}">
      <dgm:prSet/>
      <dgm:spPr/>
      <dgm:t>
        <a:bodyPr/>
        <a:lstStyle/>
        <a:p>
          <a:endParaRPr lang="en-US"/>
        </a:p>
      </dgm:t>
    </dgm:pt>
    <dgm:pt modelId="{979DE91C-1B29-4FC0-AED7-985606CCB290}">
      <dgm:prSet/>
      <dgm:spPr/>
      <dgm:t>
        <a:bodyPr/>
        <a:lstStyle/>
        <a:p>
          <a:r>
            <a:rPr lang="en-IN" b="1"/>
            <a:t>Model-Specific Classes: </a:t>
          </a:r>
          <a:endParaRPr lang="en-US"/>
        </a:p>
      </dgm:t>
    </dgm:pt>
    <dgm:pt modelId="{A729B7F0-A756-4D4E-AD9D-F6F175492979}" type="parTrans" cxnId="{579287D9-D438-4673-ABB5-0161B9C66353}">
      <dgm:prSet/>
      <dgm:spPr/>
      <dgm:t>
        <a:bodyPr/>
        <a:lstStyle/>
        <a:p>
          <a:endParaRPr lang="en-US"/>
        </a:p>
      </dgm:t>
    </dgm:pt>
    <dgm:pt modelId="{36984FEC-773B-4DFE-B421-948D75881ED8}" type="sibTrans" cxnId="{579287D9-D438-4673-ABB5-0161B9C66353}">
      <dgm:prSet/>
      <dgm:spPr/>
      <dgm:t>
        <a:bodyPr/>
        <a:lstStyle/>
        <a:p>
          <a:endParaRPr lang="en-US"/>
        </a:p>
      </dgm:t>
    </dgm:pt>
    <dgm:pt modelId="{78D5E285-CC2C-4B3D-81AC-0FD6ABEECD9C}">
      <dgm:prSet/>
      <dgm:spPr/>
      <dgm:t>
        <a:bodyPr/>
        <a:lstStyle/>
        <a:p>
          <a:r>
            <a:rPr lang="en-IN" b="1"/>
            <a:t>E5EmbeddingGenerator</a:t>
          </a:r>
          <a:endParaRPr lang="en-US"/>
        </a:p>
      </dgm:t>
    </dgm:pt>
    <dgm:pt modelId="{F5C4DFA2-854E-41E6-9F59-606DBE328D15}" type="parTrans" cxnId="{1491681C-4886-4C35-94C9-B81E9BD36951}">
      <dgm:prSet/>
      <dgm:spPr/>
      <dgm:t>
        <a:bodyPr/>
        <a:lstStyle/>
        <a:p>
          <a:endParaRPr lang="en-US"/>
        </a:p>
      </dgm:t>
    </dgm:pt>
    <dgm:pt modelId="{2A95B780-5924-4BB2-8CE9-1BC2E292374B}" type="sibTrans" cxnId="{1491681C-4886-4C35-94C9-B81E9BD36951}">
      <dgm:prSet/>
      <dgm:spPr/>
      <dgm:t>
        <a:bodyPr/>
        <a:lstStyle/>
        <a:p>
          <a:endParaRPr lang="en-US"/>
        </a:p>
      </dgm:t>
    </dgm:pt>
    <dgm:pt modelId="{45A071F9-65F0-452B-8495-D11CAAAFAFFB}">
      <dgm:prSet/>
      <dgm:spPr/>
      <dgm:t>
        <a:bodyPr/>
        <a:lstStyle/>
        <a:p>
          <a:r>
            <a:rPr lang="en-IN" b="1"/>
            <a:t>BGEEmbeddingGenerator</a:t>
          </a:r>
          <a:endParaRPr lang="en-US"/>
        </a:p>
      </dgm:t>
    </dgm:pt>
    <dgm:pt modelId="{F5774E01-49F2-46C1-A900-FF758913C146}" type="parTrans" cxnId="{73E50832-D03C-4190-9E69-C595109FF586}">
      <dgm:prSet/>
      <dgm:spPr/>
      <dgm:t>
        <a:bodyPr/>
        <a:lstStyle/>
        <a:p>
          <a:endParaRPr lang="en-US"/>
        </a:p>
      </dgm:t>
    </dgm:pt>
    <dgm:pt modelId="{004AAC24-BAA7-49C7-99C7-A7EC48D33417}" type="sibTrans" cxnId="{73E50832-D03C-4190-9E69-C595109FF586}">
      <dgm:prSet/>
      <dgm:spPr/>
      <dgm:t>
        <a:bodyPr/>
        <a:lstStyle/>
        <a:p>
          <a:endParaRPr lang="en-US"/>
        </a:p>
      </dgm:t>
    </dgm:pt>
    <dgm:pt modelId="{BEFDE078-9530-4EF6-AF41-1BD64B59A363}">
      <dgm:prSet/>
      <dgm:spPr/>
      <dgm:t>
        <a:bodyPr/>
        <a:lstStyle/>
        <a:p>
          <a:r>
            <a:rPr lang="en-IN" b="1"/>
            <a:t>GTEEmbeddingGenerator</a:t>
          </a:r>
          <a:endParaRPr lang="en-US"/>
        </a:p>
      </dgm:t>
    </dgm:pt>
    <dgm:pt modelId="{F69EB401-8F04-4EF1-A43E-1EFD5AD7A754}" type="parTrans" cxnId="{194F2E67-62D6-4584-A22A-C0B97A4C89E0}">
      <dgm:prSet/>
      <dgm:spPr/>
      <dgm:t>
        <a:bodyPr/>
        <a:lstStyle/>
        <a:p>
          <a:endParaRPr lang="en-US"/>
        </a:p>
      </dgm:t>
    </dgm:pt>
    <dgm:pt modelId="{62572E88-3567-4A2A-96F6-18D83E9518AB}" type="sibTrans" cxnId="{194F2E67-62D6-4584-A22A-C0B97A4C89E0}">
      <dgm:prSet/>
      <dgm:spPr/>
      <dgm:t>
        <a:bodyPr/>
        <a:lstStyle/>
        <a:p>
          <a:endParaRPr lang="en-US"/>
        </a:p>
      </dgm:t>
    </dgm:pt>
    <dgm:pt modelId="{E42075EE-C0B4-43F3-B942-7FF62F3DF2F1}">
      <dgm:prSet/>
      <dgm:spPr/>
      <dgm:t>
        <a:bodyPr/>
        <a:lstStyle/>
        <a:p>
          <a:r>
            <a:rPr lang="en-IN" b="1"/>
            <a:t>MinilmEmbeddingGenerator</a:t>
          </a:r>
          <a:endParaRPr lang="en-US"/>
        </a:p>
      </dgm:t>
    </dgm:pt>
    <dgm:pt modelId="{0F2967A0-6571-4759-AFF0-39F838F37D5B}" type="parTrans" cxnId="{E916C60A-A7A4-4BF2-B112-D7F6CF51BEF3}">
      <dgm:prSet/>
      <dgm:spPr/>
      <dgm:t>
        <a:bodyPr/>
        <a:lstStyle/>
        <a:p>
          <a:endParaRPr lang="en-US"/>
        </a:p>
      </dgm:t>
    </dgm:pt>
    <dgm:pt modelId="{A69FD712-915C-4E6F-B530-50252F4E229B}" type="sibTrans" cxnId="{E916C60A-A7A4-4BF2-B112-D7F6CF51BEF3}">
      <dgm:prSet/>
      <dgm:spPr/>
      <dgm:t>
        <a:bodyPr/>
        <a:lstStyle/>
        <a:p>
          <a:endParaRPr lang="en-US"/>
        </a:p>
      </dgm:t>
    </dgm:pt>
    <dgm:pt modelId="{2A1835E0-42F6-49CE-B12C-42897014C937}" type="pres">
      <dgm:prSet presAssocID="{2B9BF11E-7293-44DD-A7E5-F9CB73BDEBD7}" presName="hierChild1" presStyleCnt="0">
        <dgm:presLayoutVars>
          <dgm:orgChart val="1"/>
          <dgm:chPref val="1"/>
          <dgm:dir/>
          <dgm:animOne val="branch"/>
          <dgm:animLvl val="lvl"/>
          <dgm:resizeHandles/>
        </dgm:presLayoutVars>
      </dgm:prSet>
      <dgm:spPr/>
    </dgm:pt>
    <dgm:pt modelId="{F73CA146-D1DE-4B93-A178-5C716AFB7928}" type="pres">
      <dgm:prSet presAssocID="{A97FE569-EB47-4583-945F-FFCDA2381771}" presName="hierRoot1" presStyleCnt="0">
        <dgm:presLayoutVars>
          <dgm:hierBranch val="init"/>
        </dgm:presLayoutVars>
      </dgm:prSet>
      <dgm:spPr/>
    </dgm:pt>
    <dgm:pt modelId="{441807AA-4BE6-42D2-AE90-B268E9E12FFD}" type="pres">
      <dgm:prSet presAssocID="{A97FE569-EB47-4583-945F-FFCDA2381771}" presName="rootComposite1" presStyleCnt="0"/>
      <dgm:spPr/>
    </dgm:pt>
    <dgm:pt modelId="{D9EED25A-11E5-44B9-92D4-2019E1C69A92}" type="pres">
      <dgm:prSet presAssocID="{A97FE569-EB47-4583-945F-FFCDA2381771}" presName="rootText1" presStyleLbl="node0" presStyleIdx="0" presStyleCnt="1">
        <dgm:presLayoutVars>
          <dgm:chPref val="3"/>
        </dgm:presLayoutVars>
      </dgm:prSet>
      <dgm:spPr/>
    </dgm:pt>
    <dgm:pt modelId="{119ED097-BAD2-4423-AEFD-B5551C19B700}" type="pres">
      <dgm:prSet presAssocID="{A97FE569-EB47-4583-945F-FFCDA2381771}" presName="rootConnector1" presStyleLbl="node1" presStyleIdx="0" presStyleCnt="0"/>
      <dgm:spPr/>
    </dgm:pt>
    <dgm:pt modelId="{ADB8CA0C-FC45-4826-905A-F719C57A12B9}" type="pres">
      <dgm:prSet presAssocID="{A97FE569-EB47-4583-945F-FFCDA2381771}" presName="hierChild2" presStyleCnt="0"/>
      <dgm:spPr/>
    </dgm:pt>
    <dgm:pt modelId="{AC4236E4-0746-4F67-87BC-28C8D18188C6}" type="pres">
      <dgm:prSet presAssocID="{E1CC395B-1397-4DB7-8841-62D8509F9206}" presName="Name64" presStyleLbl="parChTrans1D2" presStyleIdx="0" presStyleCnt="4"/>
      <dgm:spPr/>
    </dgm:pt>
    <dgm:pt modelId="{6E5C1B1F-23CA-4835-88FF-ADE78949BA16}" type="pres">
      <dgm:prSet presAssocID="{99C0F73B-440B-4ED6-80F8-6758E2584477}" presName="hierRoot2" presStyleCnt="0">
        <dgm:presLayoutVars>
          <dgm:hierBranch val="init"/>
        </dgm:presLayoutVars>
      </dgm:prSet>
      <dgm:spPr/>
    </dgm:pt>
    <dgm:pt modelId="{79E4D08B-AF36-46D8-9930-A9342D332815}" type="pres">
      <dgm:prSet presAssocID="{99C0F73B-440B-4ED6-80F8-6758E2584477}" presName="rootComposite" presStyleCnt="0"/>
      <dgm:spPr/>
    </dgm:pt>
    <dgm:pt modelId="{C039E658-9709-4673-9ADB-7F7209CD1A58}" type="pres">
      <dgm:prSet presAssocID="{99C0F73B-440B-4ED6-80F8-6758E2584477}" presName="rootText" presStyleLbl="node2" presStyleIdx="0" presStyleCnt="4">
        <dgm:presLayoutVars>
          <dgm:chPref val="3"/>
        </dgm:presLayoutVars>
      </dgm:prSet>
      <dgm:spPr/>
    </dgm:pt>
    <dgm:pt modelId="{93EF4202-4503-47B2-A536-8FDB4958B69B}" type="pres">
      <dgm:prSet presAssocID="{99C0F73B-440B-4ED6-80F8-6758E2584477}" presName="rootConnector" presStyleLbl="node2" presStyleIdx="0" presStyleCnt="4"/>
      <dgm:spPr/>
    </dgm:pt>
    <dgm:pt modelId="{90EAE1D8-19A4-4AA0-A592-F7D9D9D6EB42}" type="pres">
      <dgm:prSet presAssocID="{99C0F73B-440B-4ED6-80F8-6758E2584477}" presName="hierChild4" presStyleCnt="0"/>
      <dgm:spPr/>
    </dgm:pt>
    <dgm:pt modelId="{E1AA41F6-1D9F-47E1-9FF6-05773789046B}" type="pres">
      <dgm:prSet presAssocID="{99C0F73B-440B-4ED6-80F8-6758E2584477}" presName="hierChild5" presStyleCnt="0"/>
      <dgm:spPr/>
    </dgm:pt>
    <dgm:pt modelId="{D8D7F392-6DF8-447C-AFDE-4F6268415661}" type="pres">
      <dgm:prSet presAssocID="{BD9D3EDE-C37D-498E-89D1-49A84F524EC8}" presName="Name64" presStyleLbl="parChTrans1D2" presStyleIdx="1" presStyleCnt="4"/>
      <dgm:spPr/>
    </dgm:pt>
    <dgm:pt modelId="{66B38A23-2286-4346-A13C-46877653BC0C}" type="pres">
      <dgm:prSet presAssocID="{941B03FC-C0AF-4ADC-8A01-43B6770B6EFD}" presName="hierRoot2" presStyleCnt="0">
        <dgm:presLayoutVars>
          <dgm:hierBranch val="init"/>
        </dgm:presLayoutVars>
      </dgm:prSet>
      <dgm:spPr/>
    </dgm:pt>
    <dgm:pt modelId="{BA12B552-AF3C-431A-95AD-5C1CF368551F}" type="pres">
      <dgm:prSet presAssocID="{941B03FC-C0AF-4ADC-8A01-43B6770B6EFD}" presName="rootComposite" presStyleCnt="0"/>
      <dgm:spPr/>
    </dgm:pt>
    <dgm:pt modelId="{F9753306-63F0-4860-998A-44D0C2C9B79F}" type="pres">
      <dgm:prSet presAssocID="{941B03FC-C0AF-4ADC-8A01-43B6770B6EFD}" presName="rootText" presStyleLbl="node2" presStyleIdx="1" presStyleCnt="4">
        <dgm:presLayoutVars>
          <dgm:chPref val="3"/>
        </dgm:presLayoutVars>
      </dgm:prSet>
      <dgm:spPr/>
    </dgm:pt>
    <dgm:pt modelId="{2209F4DA-417A-4091-80BA-59A797532AEC}" type="pres">
      <dgm:prSet presAssocID="{941B03FC-C0AF-4ADC-8A01-43B6770B6EFD}" presName="rootConnector" presStyleLbl="node2" presStyleIdx="1" presStyleCnt="4"/>
      <dgm:spPr/>
    </dgm:pt>
    <dgm:pt modelId="{D46A3D71-5134-4A10-8148-65D41FAB097A}" type="pres">
      <dgm:prSet presAssocID="{941B03FC-C0AF-4ADC-8A01-43B6770B6EFD}" presName="hierChild4" presStyleCnt="0"/>
      <dgm:spPr/>
    </dgm:pt>
    <dgm:pt modelId="{B13D16B9-B969-4E28-8F25-7E19BC9E482C}" type="pres">
      <dgm:prSet presAssocID="{941B03FC-C0AF-4ADC-8A01-43B6770B6EFD}" presName="hierChild5" presStyleCnt="0"/>
      <dgm:spPr/>
    </dgm:pt>
    <dgm:pt modelId="{3FF86CE7-EE73-4913-B4F3-2DEE5141A622}" type="pres">
      <dgm:prSet presAssocID="{79FA1E23-4ACC-42CE-8D03-10050A27CC80}" presName="Name64" presStyleLbl="parChTrans1D2" presStyleIdx="2" presStyleCnt="4"/>
      <dgm:spPr/>
    </dgm:pt>
    <dgm:pt modelId="{60301F6F-9B58-4282-B513-E14C05CFDEDF}" type="pres">
      <dgm:prSet presAssocID="{E636A9DF-0849-4F5C-AC8C-56E934D45E7E}" presName="hierRoot2" presStyleCnt="0">
        <dgm:presLayoutVars>
          <dgm:hierBranch val="init"/>
        </dgm:presLayoutVars>
      </dgm:prSet>
      <dgm:spPr/>
    </dgm:pt>
    <dgm:pt modelId="{5CDB31E8-654A-46DF-A7C9-06B5EA1B6B5B}" type="pres">
      <dgm:prSet presAssocID="{E636A9DF-0849-4F5C-AC8C-56E934D45E7E}" presName="rootComposite" presStyleCnt="0"/>
      <dgm:spPr/>
    </dgm:pt>
    <dgm:pt modelId="{634B3815-ECFF-42CD-A137-9C9447E92CAA}" type="pres">
      <dgm:prSet presAssocID="{E636A9DF-0849-4F5C-AC8C-56E934D45E7E}" presName="rootText" presStyleLbl="node2" presStyleIdx="2" presStyleCnt="4">
        <dgm:presLayoutVars>
          <dgm:chPref val="3"/>
        </dgm:presLayoutVars>
      </dgm:prSet>
      <dgm:spPr/>
    </dgm:pt>
    <dgm:pt modelId="{5F22B472-0672-4F7B-AAF4-636A31A59B93}" type="pres">
      <dgm:prSet presAssocID="{E636A9DF-0849-4F5C-AC8C-56E934D45E7E}" presName="rootConnector" presStyleLbl="node2" presStyleIdx="2" presStyleCnt="4"/>
      <dgm:spPr/>
    </dgm:pt>
    <dgm:pt modelId="{46281404-D87D-4721-B874-3755EF692586}" type="pres">
      <dgm:prSet presAssocID="{E636A9DF-0849-4F5C-AC8C-56E934D45E7E}" presName="hierChild4" presStyleCnt="0"/>
      <dgm:spPr/>
    </dgm:pt>
    <dgm:pt modelId="{6FBBC670-8AAD-48F2-AC14-2F86C2A3EB5A}" type="pres">
      <dgm:prSet presAssocID="{E636A9DF-0849-4F5C-AC8C-56E934D45E7E}" presName="hierChild5" presStyleCnt="0"/>
      <dgm:spPr/>
    </dgm:pt>
    <dgm:pt modelId="{FC89D892-5B20-4797-88C3-2ECB07033A8B}" type="pres">
      <dgm:prSet presAssocID="{A729B7F0-A756-4D4E-AD9D-F6F175492979}" presName="Name64" presStyleLbl="parChTrans1D2" presStyleIdx="3" presStyleCnt="4"/>
      <dgm:spPr/>
    </dgm:pt>
    <dgm:pt modelId="{2CF2A37A-EBD4-4F69-A3D1-10FA9BBC686D}" type="pres">
      <dgm:prSet presAssocID="{979DE91C-1B29-4FC0-AED7-985606CCB290}" presName="hierRoot2" presStyleCnt="0">
        <dgm:presLayoutVars>
          <dgm:hierBranch val="init"/>
        </dgm:presLayoutVars>
      </dgm:prSet>
      <dgm:spPr/>
    </dgm:pt>
    <dgm:pt modelId="{9771DDD2-7690-41AB-8A95-963E6BA52895}" type="pres">
      <dgm:prSet presAssocID="{979DE91C-1B29-4FC0-AED7-985606CCB290}" presName="rootComposite" presStyleCnt="0"/>
      <dgm:spPr/>
    </dgm:pt>
    <dgm:pt modelId="{E3E0B59D-FC9C-4FB8-93BC-E8BEC1B31B2D}" type="pres">
      <dgm:prSet presAssocID="{979DE91C-1B29-4FC0-AED7-985606CCB290}" presName="rootText" presStyleLbl="node2" presStyleIdx="3" presStyleCnt="4">
        <dgm:presLayoutVars>
          <dgm:chPref val="3"/>
        </dgm:presLayoutVars>
      </dgm:prSet>
      <dgm:spPr/>
    </dgm:pt>
    <dgm:pt modelId="{735167A3-0269-48D8-B4AB-98EA5F30F7FF}" type="pres">
      <dgm:prSet presAssocID="{979DE91C-1B29-4FC0-AED7-985606CCB290}" presName="rootConnector" presStyleLbl="node2" presStyleIdx="3" presStyleCnt="4"/>
      <dgm:spPr/>
    </dgm:pt>
    <dgm:pt modelId="{449FCA8A-0AA0-4C83-976B-5270BD4CAEDC}" type="pres">
      <dgm:prSet presAssocID="{979DE91C-1B29-4FC0-AED7-985606CCB290}" presName="hierChild4" presStyleCnt="0"/>
      <dgm:spPr/>
    </dgm:pt>
    <dgm:pt modelId="{46EFEB4B-64A0-4665-8B27-B4E463234FF8}" type="pres">
      <dgm:prSet presAssocID="{F5C4DFA2-854E-41E6-9F59-606DBE328D15}" presName="Name64" presStyleLbl="parChTrans1D3" presStyleIdx="0" presStyleCnt="4"/>
      <dgm:spPr/>
    </dgm:pt>
    <dgm:pt modelId="{85E6950D-A806-402E-B25D-2AEB672FD359}" type="pres">
      <dgm:prSet presAssocID="{78D5E285-CC2C-4B3D-81AC-0FD6ABEECD9C}" presName="hierRoot2" presStyleCnt="0">
        <dgm:presLayoutVars>
          <dgm:hierBranch val="init"/>
        </dgm:presLayoutVars>
      </dgm:prSet>
      <dgm:spPr/>
    </dgm:pt>
    <dgm:pt modelId="{A9D552F8-9195-48CF-9201-0CB8255E609E}" type="pres">
      <dgm:prSet presAssocID="{78D5E285-CC2C-4B3D-81AC-0FD6ABEECD9C}" presName="rootComposite" presStyleCnt="0"/>
      <dgm:spPr/>
    </dgm:pt>
    <dgm:pt modelId="{EEC39609-EB1E-453E-8EEC-A65C6FF954C1}" type="pres">
      <dgm:prSet presAssocID="{78D5E285-CC2C-4B3D-81AC-0FD6ABEECD9C}" presName="rootText" presStyleLbl="node3" presStyleIdx="0" presStyleCnt="4">
        <dgm:presLayoutVars>
          <dgm:chPref val="3"/>
        </dgm:presLayoutVars>
      </dgm:prSet>
      <dgm:spPr/>
    </dgm:pt>
    <dgm:pt modelId="{805CF530-6473-4C69-B637-0716828120D0}" type="pres">
      <dgm:prSet presAssocID="{78D5E285-CC2C-4B3D-81AC-0FD6ABEECD9C}" presName="rootConnector" presStyleLbl="node3" presStyleIdx="0" presStyleCnt="4"/>
      <dgm:spPr/>
    </dgm:pt>
    <dgm:pt modelId="{97E0A501-EC2F-4F61-A3D1-1B5660CB7B36}" type="pres">
      <dgm:prSet presAssocID="{78D5E285-CC2C-4B3D-81AC-0FD6ABEECD9C}" presName="hierChild4" presStyleCnt="0"/>
      <dgm:spPr/>
    </dgm:pt>
    <dgm:pt modelId="{007D7DA5-14EC-4C88-8271-9524348588CB}" type="pres">
      <dgm:prSet presAssocID="{78D5E285-CC2C-4B3D-81AC-0FD6ABEECD9C}" presName="hierChild5" presStyleCnt="0"/>
      <dgm:spPr/>
    </dgm:pt>
    <dgm:pt modelId="{8FC7FC13-0597-467D-995D-A3B99B411323}" type="pres">
      <dgm:prSet presAssocID="{F5774E01-49F2-46C1-A900-FF758913C146}" presName="Name64" presStyleLbl="parChTrans1D3" presStyleIdx="1" presStyleCnt="4"/>
      <dgm:spPr/>
    </dgm:pt>
    <dgm:pt modelId="{4C178D41-7CEF-4E7B-8D79-305D6181FC2E}" type="pres">
      <dgm:prSet presAssocID="{45A071F9-65F0-452B-8495-D11CAAAFAFFB}" presName="hierRoot2" presStyleCnt="0">
        <dgm:presLayoutVars>
          <dgm:hierBranch val="init"/>
        </dgm:presLayoutVars>
      </dgm:prSet>
      <dgm:spPr/>
    </dgm:pt>
    <dgm:pt modelId="{294E68B4-16B6-4446-A2AD-7302E6FD9E36}" type="pres">
      <dgm:prSet presAssocID="{45A071F9-65F0-452B-8495-D11CAAAFAFFB}" presName="rootComposite" presStyleCnt="0"/>
      <dgm:spPr/>
    </dgm:pt>
    <dgm:pt modelId="{969286A3-2212-4C69-B2EC-2892D0738A12}" type="pres">
      <dgm:prSet presAssocID="{45A071F9-65F0-452B-8495-D11CAAAFAFFB}" presName="rootText" presStyleLbl="node3" presStyleIdx="1" presStyleCnt="4">
        <dgm:presLayoutVars>
          <dgm:chPref val="3"/>
        </dgm:presLayoutVars>
      </dgm:prSet>
      <dgm:spPr/>
    </dgm:pt>
    <dgm:pt modelId="{FA0D861F-0995-442C-A400-9FC20D490B7F}" type="pres">
      <dgm:prSet presAssocID="{45A071F9-65F0-452B-8495-D11CAAAFAFFB}" presName="rootConnector" presStyleLbl="node3" presStyleIdx="1" presStyleCnt="4"/>
      <dgm:spPr/>
    </dgm:pt>
    <dgm:pt modelId="{0DE300B1-3EDC-4A31-AE22-BE0829D99932}" type="pres">
      <dgm:prSet presAssocID="{45A071F9-65F0-452B-8495-D11CAAAFAFFB}" presName="hierChild4" presStyleCnt="0"/>
      <dgm:spPr/>
    </dgm:pt>
    <dgm:pt modelId="{3CEAF7A0-84A2-4C73-B955-3BEC2862FC73}" type="pres">
      <dgm:prSet presAssocID="{45A071F9-65F0-452B-8495-D11CAAAFAFFB}" presName="hierChild5" presStyleCnt="0"/>
      <dgm:spPr/>
    </dgm:pt>
    <dgm:pt modelId="{5CC4BD18-CD72-427B-8A52-EA9255DA7E2F}" type="pres">
      <dgm:prSet presAssocID="{F69EB401-8F04-4EF1-A43E-1EFD5AD7A754}" presName="Name64" presStyleLbl="parChTrans1D3" presStyleIdx="2" presStyleCnt="4"/>
      <dgm:spPr/>
    </dgm:pt>
    <dgm:pt modelId="{6BB85FEC-A79E-43DE-A0DD-C1FA4AE8AB0E}" type="pres">
      <dgm:prSet presAssocID="{BEFDE078-9530-4EF6-AF41-1BD64B59A363}" presName="hierRoot2" presStyleCnt="0">
        <dgm:presLayoutVars>
          <dgm:hierBranch val="init"/>
        </dgm:presLayoutVars>
      </dgm:prSet>
      <dgm:spPr/>
    </dgm:pt>
    <dgm:pt modelId="{BB1F8CBB-BFC4-4E3E-BB63-EBF0D8DFD6A2}" type="pres">
      <dgm:prSet presAssocID="{BEFDE078-9530-4EF6-AF41-1BD64B59A363}" presName="rootComposite" presStyleCnt="0"/>
      <dgm:spPr/>
    </dgm:pt>
    <dgm:pt modelId="{A5E0E567-2145-4551-B683-EC35457C632D}" type="pres">
      <dgm:prSet presAssocID="{BEFDE078-9530-4EF6-AF41-1BD64B59A363}" presName="rootText" presStyleLbl="node3" presStyleIdx="2" presStyleCnt="4">
        <dgm:presLayoutVars>
          <dgm:chPref val="3"/>
        </dgm:presLayoutVars>
      </dgm:prSet>
      <dgm:spPr/>
    </dgm:pt>
    <dgm:pt modelId="{7AA29A92-F1A3-44CF-B62B-8D442305DC00}" type="pres">
      <dgm:prSet presAssocID="{BEFDE078-9530-4EF6-AF41-1BD64B59A363}" presName="rootConnector" presStyleLbl="node3" presStyleIdx="2" presStyleCnt="4"/>
      <dgm:spPr/>
    </dgm:pt>
    <dgm:pt modelId="{8FA9E42F-57DC-4EC8-82E2-37085F786320}" type="pres">
      <dgm:prSet presAssocID="{BEFDE078-9530-4EF6-AF41-1BD64B59A363}" presName="hierChild4" presStyleCnt="0"/>
      <dgm:spPr/>
    </dgm:pt>
    <dgm:pt modelId="{BB87B9A5-045E-4B01-B561-8893DEA950D6}" type="pres">
      <dgm:prSet presAssocID="{BEFDE078-9530-4EF6-AF41-1BD64B59A363}" presName="hierChild5" presStyleCnt="0"/>
      <dgm:spPr/>
    </dgm:pt>
    <dgm:pt modelId="{58EF9C69-40D1-4730-951F-76BA79F8B814}" type="pres">
      <dgm:prSet presAssocID="{0F2967A0-6571-4759-AFF0-39F838F37D5B}" presName="Name64" presStyleLbl="parChTrans1D3" presStyleIdx="3" presStyleCnt="4"/>
      <dgm:spPr/>
    </dgm:pt>
    <dgm:pt modelId="{30B31B93-7691-4F4E-98AC-A9DAABF04DA4}" type="pres">
      <dgm:prSet presAssocID="{E42075EE-C0B4-43F3-B942-7FF62F3DF2F1}" presName="hierRoot2" presStyleCnt="0">
        <dgm:presLayoutVars>
          <dgm:hierBranch val="init"/>
        </dgm:presLayoutVars>
      </dgm:prSet>
      <dgm:spPr/>
    </dgm:pt>
    <dgm:pt modelId="{0393A38B-D24C-40AA-9038-F3CFB5913067}" type="pres">
      <dgm:prSet presAssocID="{E42075EE-C0B4-43F3-B942-7FF62F3DF2F1}" presName="rootComposite" presStyleCnt="0"/>
      <dgm:spPr/>
    </dgm:pt>
    <dgm:pt modelId="{14728D5C-4BA9-4958-AC82-4AA54D67161F}" type="pres">
      <dgm:prSet presAssocID="{E42075EE-C0B4-43F3-B942-7FF62F3DF2F1}" presName="rootText" presStyleLbl="node3" presStyleIdx="3" presStyleCnt="4">
        <dgm:presLayoutVars>
          <dgm:chPref val="3"/>
        </dgm:presLayoutVars>
      </dgm:prSet>
      <dgm:spPr/>
    </dgm:pt>
    <dgm:pt modelId="{47B6F9DB-6625-4E46-9265-45A66DBB3209}" type="pres">
      <dgm:prSet presAssocID="{E42075EE-C0B4-43F3-B942-7FF62F3DF2F1}" presName="rootConnector" presStyleLbl="node3" presStyleIdx="3" presStyleCnt="4"/>
      <dgm:spPr/>
    </dgm:pt>
    <dgm:pt modelId="{68F2C123-A6B7-4D38-9554-E105DCD52DF6}" type="pres">
      <dgm:prSet presAssocID="{E42075EE-C0B4-43F3-B942-7FF62F3DF2F1}" presName="hierChild4" presStyleCnt="0"/>
      <dgm:spPr/>
    </dgm:pt>
    <dgm:pt modelId="{258B0EFB-D9E2-4515-909F-4558E7EDE427}" type="pres">
      <dgm:prSet presAssocID="{E42075EE-C0B4-43F3-B942-7FF62F3DF2F1}" presName="hierChild5" presStyleCnt="0"/>
      <dgm:spPr/>
    </dgm:pt>
    <dgm:pt modelId="{BE53BE62-4865-48F9-A8CB-9D968BD17B1E}" type="pres">
      <dgm:prSet presAssocID="{979DE91C-1B29-4FC0-AED7-985606CCB290}" presName="hierChild5" presStyleCnt="0"/>
      <dgm:spPr/>
    </dgm:pt>
    <dgm:pt modelId="{5C7DE0A2-6585-4083-951D-C7A640AAE56B}" type="pres">
      <dgm:prSet presAssocID="{A97FE569-EB47-4583-945F-FFCDA2381771}" presName="hierChild3" presStyleCnt="0"/>
      <dgm:spPr/>
    </dgm:pt>
  </dgm:ptLst>
  <dgm:cxnLst>
    <dgm:cxn modelId="{8CE9F402-CE23-40CC-B42A-9D5463854225}" type="presOf" srcId="{E42075EE-C0B4-43F3-B942-7FF62F3DF2F1}" destId="{47B6F9DB-6625-4E46-9265-45A66DBB3209}" srcOrd="1" destOrd="0" presId="urn:microsoft.com/office/officeart/2009/3/layout/HorizontalOrganizationChart"/>
    <dgm:cxn modelId="{F6D64007-F9E8-40C0-B407-5030971881D1}" type="presOf" srcId="{E636A9DF-0849-4F5C-AC8C-56E934D45E7E}" destId="{5F22B472-0672-4F7B-AAF4-636A31A59B93}" srcOrd="1" destOrd="0" presId="urn:microsoft.com/office/officeart/2009/3/layout/HorizontalOrganizationChart"/>
    <dgm:cxn modelId="{E916C60A-A7A4-4BF2-B112-D7F6CF51BEF3}" srcId="{979DE91C-1B29-4FC0-AED7-985606CCB290}" destId="{E42075EE-C0B4-43F3-B942-7FF62F3DF2F1}" srcOrd="3" destOrd="0" parTransId="{0F2967A0-6571-4759-AFF0-39F838F37D5B}" sibTransId="{A69FD712-915C-4E6F-B530-50252F4E229B}"/>
    <dgm:cxn modelId="{C1576015-FF68-4B15-B4A8-68C2098027CE}" type="presOf" srcId="{941B03FC-C0AF-4ADC-8A01-43B6770B6EFD}" destId="{F9753306-63F0-4860-998A-44D0C2C9B79F}" srcOrd="0" destOrd="0" presId="urn:microsoft.com/office/officeart/2009/3/layout/HorizontalOrganizationChart"/>
    <dgm:cxn modelId="{202C7D18-B4E8-4F0C-8A0E-17727C76225C}" type="presOf" srcId="{A97FE569-EB47-4583-945F-FFCDA2381771}" destId="{D9EED25A-11E5-44B9-92D4-2019E1C69A92}" srcOrd="0" destOrd="0" presId="urn:microsoft.com/office/officeart/2009/3/layout/HorizontalOrganizationChart"/>
    <dgm:cxn modelId="{1491681C-4886-4C35-94C9-B81E9BD36951}" srcId="{979DE91C-1B29-4FC0-AED7-985606CCB290}" destId="{78D5E285-CC2C-4B3D-81AC-0FD6ABEECD9C}" srcOrd="0" destOrd="0" parTransId="{F5C4DFA2-854E-41E6-9F59-606DBE328D15}" sibTransId="{2A95B780-5924-4BB2-8CE9-1BC2E292374B}"/>
    <dgm:cxn modelId="{CC123F21-DD35-4A92-931E-5B1D8B73AA1B}" type="presOf" srcId="{979DE91C-1B29-4FC0-AED7-985606CCB290}" destId="{735167A3-0269-48D8-B4AB-98EA5F30F7FF}" srcOrd="1" destOrd="0" presId="urn:microsoft.com/office/officeart/2009/3/layout/HorizontalOrganizationChart"/>
    <dgm:cxn modelId="{6FD38825-0D5F-4C57-8E17-D13AD101BB10}" type="presOf" srcId="{45A071F9-65F0-452B-8495-D11CAAAFAFFB}" destId="{FA0D861F-0995-442C-A400-9FC20D490B7F}" srcOrd="1" destOrd="0" presId="urn:microsoft.com/office/officeart/2009/3/layout/HorizontalOrganizationChart"/>
    <dgm:cxn modelId="{6459FA2C-CAF2-4E18-A8FD-04B374B8798B}" type="presOf" srcId="{E636A9DF-0849-4F5C-AC8C-56E934D45E7E}" destId="{634B3815-ECFF-42CD-A137-9C9447E92CAA}" srcOrd="0" destOrd="0" presId="urn:microsoft.com/office/officeart/2009/3/layout/HorizontalOrganizationChart"/>
    <dgm:cxn modelId="{73E50832-D03C-4190-9E69-C595109FF586}" srcId="{979DE91C-1B29-4FC0-AED7-985606CCB290}" destId="{45A071F9-65F0-452B-8495-D11CAAAFAFFB}" srcOrd="1" destOrd="0" parTransId="{F5774E01-49F2-46C1-A900-FF758913C146}" sibTransId="{004AAC24-BAA7-49C7-99C7-A7EC48D33417}"/>
    <dgm:cxn modelId="{92CB7C3A-EB59-4804-A123-54DD0872CBAA}" type="presOf" srcId="{BD9D3EDE-C37D-498E-89D1-49A84F524EC8}" destId="{D8D7F392-6DF8-447C-AFDE-4F6268415661}" srcOrd="0" destOrd="0" presId="urn:microsoft.com/office/officeart/2009/3/layout/HorizontalOrganizationChart"/>
    <dgm:cxn modelId="{3C1A3A3E-07CD-4932-AC07-39D3911172B4}" srcId="{A97FE569-EB47-4583-945F-FFCDA2381771}" destId="{E636A9DF-0849-4F5C-AC8C-56E934D45E7E}" srcOrd="2" destOrd="0" parTransId="{79FA1E23-4ACC-42CE-8D03-10050A27CC80}" sibTransId="{8905E8D5-F9FF-459B-83A6-571176187AAA}"/>
    <dgm:cxn modelId="{97EED55C-7113-4CB0-A8D1-65F41F8537EB}" srcId="{A97FE569-EB47-4583-945F-FFCDA2381771}" destId="{941B03FC-C0AF-4ADC-8A01-43B6770B6EFD}" srcOrd="1" destOrd="0" parTransId="{BD9D3EDE-C37D-498E-89D1-49A84F524EC8}" sibTransId="{0D2405AE-7EDB-4069-8C9F-C4E30FEA7772}"/>
    <dgm:cxn modelId="{BA61D944-176C-4B5F-AF5A-9C6074342E85}" type="presOf" srcId="{79FA1E23-4ACC-42CE-8D03-10050A27CC80}" destId="{3FF86CE7-EE73-4913-B4F3-2DEE5141A622}" srcOrd="0" destOrd="0" presId="urn:microsoft.com/office/officeart/2009/3/layout/HorizontalOrganizationChart"/>
    <dgm:cxn modelId="{194F2E67-62D6-4584-A22A-C0B97A4C89E0}" srcId="{979DE91C-1B29-4FC0-AED7-985606CCB290}" destId="{BEFDE078-9530-4EF6-AF41-1BD64B59A363}" srcOrd="2" destOrd="0" parTransId="{F69EB401-8F04-4EF1-A43E-1EFD5AD7A754}" sibTransId="{62572E88-3567-4A2A-96F6-18D83E9518AB}"/>
    <dgm:cxn modelId="{88FAA969-F611-4B55-8718-120E95033B24}" type="presOf" srcId="{979DE91C-1B29-4FC0-AED7-985606CCB290}" destId="{E3E0B59D-FC9C-4FB8-93BC-E8BEC1B31B2D}" srcOrd="0" destOrd="0" presId="urn:microsoft.com/office/officeart/2009/3/layout/HorizontalOrganizationChart"/>
    <dgm:cxn modelId="{5271FC4E-F047-4BE9-A7F5-7F6535F1149D}" srcId="{A97FE569-EB47-4583-945F-FFCDA2381771}" destId="{99C0F73B-440B-4ED6-80F8-6758E2584477}" srcOrd="0" destOrd="0" parTransId="{E1CC395B-1397-4DB7-8841-62D8509F9206}" sibTransId="{5ECDD209-65E8-4726-95E5-2FD41767DA28}"/>
    <dgm:cxn modelId="{5141B375-45EA-4487-AB41-6BF25255E473}" type="presOf" srcId="{E1CC395B-1397-4DB7-8841-62D8509F9206}" destId="{AC4236E4-0746-4F67-87BC-28C8D18188C6}" srcOrd="0" destOrd="0" presId="urn:microsoft.com/office/officeart/2009/3/layout/HorizontalOrganizationChart"/>
    <dgm:cxn modelId="{FC1D0A82-9DCE-4754-B42F-738996FD4FCE}" srcId="{2B9BF11E-7293-44DD-A7E5-F9CB73BDEBD7}" destId="{A97FE569-EB47-4583-945F-FFCDA2381771}" srcOrd="0" destOrd="0" parTransId="{3AD9E42C-8D4C-4B7D-9378-145D2CD7DB1A}" sibTransId="{AAA95AB2-BEF5-4D14-ABC5-9B30793EEB98}"/>
    <dgm:cxn modelId="{A375B685-CBA5-45C1-9564-2F7707F611E3}" type="presOf" srcId="{A97FE569-EB47-4583-945F-FFCDA2381771}" destId="{119ED097-BAD2-4423-AEFD-B5551C19B700}" srcOrd="1" destOrd="0" presId="urn:microsoft.com/office/officeart/2009/3/layout/HorizontalOrganizationChart"/>
    <dgm:cxn modelId="{34F8D187-8F43-4807-A917-CF00F4AA9263}" type="presOf" srcId="{78D5E285-CC2C-4B3D-81AC-0FD6ABEECD9C}" destId="{EEC39609-EB1E-453E-8EEC-A65C6FF954C1}" srcOrd="0" destOrd="0" presId="urn:microsoft.com/office/officeart/2009/3/layout/HorizontalOrganizationChart"/>
    <dgm:cxn modelId="{41A9748D-04C5-4E26-B235-1F2C53A56AAC}" type="presOf" srcId="{99C0F73B-440B-4ED6-80F8-6758E2584477}" destId="{93EF4202-4503-47B2-A536-8FDB4958B69B}" srcOrd="1" destOrd="0" presId="urn:microsoft.com/office/officeart/2009/3/layout/HorizontalOrganizationChart"/>
    <dgm:cxn modelId="{9EF6768F-EF33-45F8-9C32-CA1EB0E47E7F}" type="presOf" srcId="{BEFDE078-9530-4EF6-AF41-1BD64B59A363}" destId="{A5E0E567-2145-4551-B683-EC35457C632D}" srcOrd="0" destOrd="0" presId="urn:microsoft.com/office/officeart/2009/3/layout/HorizontalOrganizationChart"/>
    <dgm:cxn modelId="{62140592-E0B9-4241-B1C5-8F9A796919CB}" type="presOf" srcId="{941B03FC-C0AF-4ADC-8A01-43B6770B6EFD}" destId="{2209F4DA-417A-4091-80BA-59A797532AEC}" srcOrd="1" destOrd="0" presId="urn:microsoft.com/office/officeart/2009/3/layout/HorizontalOrganizationChart"/>
    <dgm:cxn modelId="{FE24C79C-65D6-4A17-BB3F-D3CFC5CB51F8}" type="presOf" srcId="{F5774E01-49F2-46C1-A900-FF758913C146}" destId="{8FC7FC13-0597-467D-995D-A3B99B411323}" srcOrd="0" destOrd="0" presId="urn:microsoft.com/office/officeart/2009/3/layout/HorizontalOrganizationChart"/>
    <dgm:cxn modelId="{A7B7DC9E-BAEF-49C0-B02B-D51A84E8CC16}" type="presOf" srcId="{78D5E285-CC2C-4B3D-81AC-0FD6ABEECD9C}" destId="{805CF530-6473-4C69-B637-0716828120D0}" srcOrd="1" destOrd="0" presId="urn:microsoft.com/office/officeart/2009/3/layout/HorizontalOrganizationChart"/>
    <dgm:cxn modelId="{CAAA8CA2-2A73-487E-A315-956D83D4F645}" type="presOf" srcId="{2B9BF11E-7293-44DD-A7E5-F9CB73BDEBD7}" destId="{2A1835E0-42F6-49CE-B12C-42897014C937}" srcOrd="0" destOrd="0" presId="urn:microsoft.com/office/officeart/2009/3/layout/HorizontalOrganizationChart"/>
    <dgm:cxn modelId="{22239AC8-E592-4B0B-91DD-0570DB153001}" type="presOf" srcId="{0F2967A0-6571-4759-AFF0-39F838F37D5B}" destId="{58EF9C69-40D1-4730-951F-76BA79F8B814}" srcOrd="0" destOrd="0" presId="urn:microsoft.com/office/officeart/2009/3/layout/HorizontalOrganizationChart"/>
    <dgm:cxn modelId="{6F9AC2CB-493B-42DA-9529-85F115A9FE98}" type="presOf" srcId="{F5C4DFA2-854E-41E6-9F59-606DBE328D15}" destId="{46EFEB4B-64A0-4665-8B27-B4E463234FF8}" srcOrd="0" destOrd="0" presId="urn:microsoft.com/office/officeart/2009/3/layout/HorizontalOrganizationChart"/>
    <dgm:cxn modelId="{26D874D0-9FBF-484B-9036-44C5C5A69F17}" type="presOf" srcId="{45A071F9-65F0-452B-8495-D11CAAAFAFFB}" destId="{969286A3-2212-4C69-B2EC-2892D0738A12}" srcOrd="0" destOrd="0" presId="urn:microsoft.com/office/officeart/2009/3/layout/HorizontalOrganizationChart"/>
    <dgm:cxn modelId="{A25F2DD1-9EA9-44C2-8429-3ED3316872C1}" type="presOf" srcId="{BEFDE078-9530-4EF6-AF41-1BD64B59A363}" destId="{7AA29A92-F1A3-44CF-B62B-8D442305DC00}" srcOrd="1" destOrd="0" presId="urn:microsoft.com/office/officeart/2009/3/layout/HorizontalOrganizationChart"/>
    <dgm:cxn modelId="{BF461BD5-0D4D-489A-AF73-12226569277C}" type="presOf" srcId="{F69EB401-8F04-4EF1-A43E-1EFD5AD7A754}" destId="{5CC4BD18-CD72-427B-8A52-EA9255DA7E2F}" srcOrd="0" destOrd="0" presId="urn:microsoft.com/office/officeart/2009/3/layout/HorizontalOrganizationChart"/>
    <dgm:cxn modelId="{579287D9-D438-4673-ABB5-0161B9C66353}" srcId="{A97FE569-EB47-4583-945F-FFCDA2381771}" destId="{979DE91C-1B29-4FC0-AED7-985606CCB290}" srcOrd="3" destOrd="0" parTransId="{A729B7F0-A756-4D4E-AD9D-F6F175492979}" sibTransId="{36984FEC-773B-4DFE-B421-948D75881ED8}"/>
    <dgm:cxn modelId="{DD880BEA-DBDC-4C55-9D0E-EBA060791296}" type="presOf" srcId="{E42075EE-C0B4-43F3-B942-7FF62F3DF2F1}" destId="{14728D5C-4BA9-4958-AC82-4AA54D67161F}" srcOrd="0" destOrd="0" presId="urn:microsoft.com/office/officeart/2009/3/layout/HorizontalOrganizationChart"/>
    <dgm:cxn modelId="{7375C2EE-C142-4C8A-BBD6-12D531ABD95D}" type="presOf" srcId="{99C0F73B-440B-4ED6-80F8-6758E2584477}" destId="{C039E658-9709-4673-9ADB-7F7209CD1A58}" srcOrd="0" destOrd="0" presId="urn:microsoft.com/office/officeart/2009/3/layout/HorizontalOrganizationChart"/>
    <dgm:cxn modelId="{357A24F4-A114-4363-A3FB-8532194B16EF}" type="presOf" srcId="{A729B7F0-A756-4D4E-AD9D-F6F175492979}" destId="{FC89D892-5B20-4797-88C3-2ECB07033A8B}" srcOrd="0" destOrd="0" presId="urn:microsoft.com/office/officeart/2009/3/layout/HorizontalOrganizationChart"/>
    <dgm:cxn modelId="{31754B04-91BD-42D7-8278-E0E931AB0033}" type="presParOf" srcId="{2A1835E0-42F6-49CE-B12C-42897014C937}" destId="{F73CA146-D1DE-4B93-A178-5C716AFB7928}" srcOrd="0" destOrd="0" presId="urn:microsoft.com/office/officeart/2009/3/layout/HorizontalOrganizationChart"/>
    <dgm:cxn modelId="{56CB2A49-51B7-41C9-B6F8-95E2201D4B50}" type="presParOf" srcId="{F73CA146-D1DE-4B93-A178-5C716AFB7928}" destId="{441807AA-4BE6-42D2-AE90-B268E9E12FFD}" srcOrd="0" destOrd="0" presId="urn:microsoft.com/office/officeart/2009/3/layout/HorizontalOrganizationChart"/>
    <dgm:cxn modelId="{7B9C3D1C-7B22-4292-ABFA-059793F5E326}" type="presParOf" srcId="{441807AA-4BE6-42D2-AE90-B268E9E12FFD}" destId="{D9EED25A-11E5-44B9-92D4-2019E1C69A92}" srcOrd="0" destOrd="0" presId="urn:microsoft.com/office/officeart/2009/3/layout/HorizontalOrganizationChart"/>
    <dgm:cxn modelId="{41048F7D-65AB-40A8-A39A-DDEEF815D49F}" type="presParOf" srcId="{441807AA-4BE6-42D2-AE90-B268E9E12FFD}" destId="{119ED097-BAD2-4423-AEFD-B5551C19B700}" srcOrd="1" destOrd="0" presId="urn:microsoft.com/office/officeart/2009/3/layout/HorizontalOrganizationChart"/>
    <dgm:cxn modelId="{E437D2A0-702D-46B8-AB1B-CC04FC1FB7F8}" type="presParOf" srcId="{F73CA146-D1DE-4B93-A178-5C716AFB7928}" destId="{ADB8CA0C-FC45-4826-905A-F719C57A12B9}" srcOrd="1" destOrd="0" presId="urn:microsoft.com/office/officeart/2009/3/layout/HorizontalOrganizationChart"/>
    <dgm:cxn modelId="{7FF310DD-A923-453A-B8A1-CA4A7A84B51E}" type="presParOf" srcId="{ADB8CA0C-FC45-4826-905A-F719C57A12B9}" destId="{AC4236E4-0746-4F67-87BC-28C8D18188C6}" srcOrd="0" destOrd="0" presId="urn:microsoft.com/office/officeart/2009/3/layout/HorizontalOrganizationChart"/>
    <dgm:cxn modelId="{13CB8A41-7719-4CAF-B810-C748DF383F6C}" type="presParOf" srcId="{ADB8CA0C-FC45-4826-905A-F719C57A12B9}" destId="{6E5C1B1F-23CA-4835-88FF-ADE78949BA16}" srcOrd="1" destOrd="0" presId="urn:microsoft.com/office/officeart/2009/3/layout/HorizontalOrganizationChart"/>
    <dgm:cxn modelId="{F6E1B24A-1AC3-409D-9F46-1C67EF6B95BE}" type="presParOf" srcId="{6E5C1B1F-23CA-4835-88FF-ADE78949BA16}" destId="{79E4D08B-AF36-46D8-9930-A9342D332815}" srcOrd="0" destOrd="0" presId="urn:microsoft.com/office/officeart/2009/3/layout/HorizontalOrganizationChart"/>
    <dgm:cxn modelId="{364AE88D-318F-4103-919D-854B25EFA32C}" type="presParOf" srcId="{79E4D08B-AF36-46D8-9930-A9342D332815}" destId="{C039E658-9709-4673-9ADB-7F7209CD1A58}" srcOrd="0" destOrd="0" presId="urn:microsoft.com/office/officeart/2009/3/layout/HorizontalOrganizationChart"/>
    <dgm:cxn modelId="{4A327848-93F2-4FA9-88A1-238A0FB330C3}" type="presParOf" srcId="{79E4D08B-AF36-46D8-9930-A9342D332815}" destId="{93EF4202-4503-47B2-A536-8FDB4958B69B}" srcOrd="1" destOrd="0" presId="urn:microsoft.com/office/officeart/2009/3/layout/HorizontalOrganizationChart"/>
    <dgm:cxn modelId="{4BA956EC-11B6-456F-BCA0-6CA2E78B8128}" type="presParOf" srcId="{6E5C1B1F-23CA-4835-88FF-ADE78949BA16}" destId="{90EAE1D8-19A4-4AA0-A592-F7D9D9D6EB42}" srcOrd="1" destOrd="0" presId="urn:microsoft.com/office/officeart/2009/3/layout/HorizontalOrganizationChart"/>
    <dgm:cxn modelId="{60BF7F54-8A4A-495E-8F63-40632A3F94F9}" type="presParOf" srcId="{6E5C1B1F-23CA-4835-88FF-ADE78949BA16}" destId="{E1AA41F6-1D9F-47E1-9FF6-05773789046B}" srcOrd="2" destOrd="0" presId="urn:microsoft.com/office/officeart/2009/3/layout/HorizontalOrganizationChart"/>
    <dgm:cxn modelId="{A9A99068-250D-4997-8396-75606C42B8E0}" type="presParOf" srcId="{ADB8CA0C-FC45-4826-905A-F719C57A12B9}" destId="{D8D7F392-6DF8-447C-AFDE-4F6268415661}" srcOrd="2" destOrd="0" presId="urn:microsoft.com/office/officeart/2009/3/layout/HorizontalOrganizationChart"/>
    <dgm:cxn modelId="{9A8B5A46-9F31-4F23-A58E-7B96C1D4204F}" type="presParOf" srcId="{ADB8CA0C-FC45-4826-905A-F719C57A12B9}" destId="{66B38A23-2286-4346-A13C-46877653BC0C}" srcOrd="3" destOrd="0" presId="urn:microsoft.com/office/officeart/2009/3/layout/HorizontalOrganizationChart"/>
    <dgm:cxn modelId="{8EAC09B6-F5E9-413C-B4C0-406F775940FD}" type="presParOf" srcId="{66B38A23-2286-4346-A13C-46877653BC0C}" destId="{BA12B552-AF3C-431A-95AD-5C1CF368551F}" srcOrd="0" destOrd="0" presId="urn:microsoft.com/office/officeart/2009/3/layout/HorizontalOrganizationChart"/>
    <dgm:cxn modelId="{5C4A37C5-4A84-41C8-B697-60B77A7F34DF}" type="presParOf" srcId="{BA12B552-AF3C-431A-95AD-5C1CF368551F}" destId="{F9753306-63F0-4860-998A-44D0C2C9B79F}" srcOrd="0" destOrd="0" presId="urn:microsoft.com/office/officeart/2009/3/layout/HorizontalOrganizationChart"/>
    <dgm:cxn modelId="{A6ECA5C1-5BB9-47EF-9082-E151E0CAFD98}" type="presParOf" srcId="{BA12B552-AF3C-431A-95AD-5C1CF368551F}" destId="{2209F4DA-417A-4091-80BA-59A797532AEC}" srcOrd="1" destOrd="0" presId="urn:microsoft.com/office/officeart/2009/3/layout/HorizontalOrganizationChart"/>
    <dgm:cxn modelId="{181DFD9F-A15B-4C75-A9AE-D06C5E96C274}" type="presParOf" srcId="{66B38A23-2286-4346-A13C-46877653BC0C}" destId="{D46A3D71-5134-4A10-8148-65D41FAB097A}" srcOrd="1" destOrd="0" presId="urn:microsoft.com/office/officeart/2009/3/layout/HorizontalOrganizationChart"/>
    <dgm:cxn modelId="{8D54167E-E44D-4526-90C8-66F12780B7E7}" type="presParOf" srcId="{66B38A23-2286-4346-A13C-46877653BC0C}" destId="{B13D16B9-B969-4E28-8F25-7E19BC9E482C}" srcOrd="2" destOrd="0" presId="urn:microsoft.com/office/officeart/2009/3/layout/HorizontalOrganizationChart"/>
    <dgm:cxn modelId="{9FDA077D-3441-4AC9-AACB-2D0B7B739F6F}" type="presParOf" srcId="{ADB8CA0C-FC45-4826-905A-F719C57A12B9}" destId="{3FF86CE7-EE73-4913-B4F3-2DEE5141A622}" srcOrd="4" destOrd="0" presId="urn:microsoft.com/office/officeart/2009/3/layout/HorizontalOrganizationChart"/>
    <dgm:cxn modelId="{119E2CB7-80D9-4794-8EAC-244826A0F6D9}" type="presParOf" srcId="{ADB8CA0C-FC45-4826-905A-F719C57A12B9}" destId="{60301F6F-9B58-4282-B513-E14C05CFDEDF}" srcOrd="5" destOrd="0" presId="urn:microsoft.com/office/officeart/2009/3/layout/HorizontalOrganizationChart"/>
    <dgm:cxn modelId="{54C94690-AC43-49C0-BCBD-1A3A4CE1B6F7}" type="presParOf" srcId="{60301F6F-9B58-4282-B513-E14C05CFDEDF}" destId="{5CDB31E8-654A-46DF-A7C9-06B5EA1B6B5B}" srcOrd="0" destOrd="0" presId="urn:microsoft.com/office/officeart/2009/3/layout/HorizontalOrganizationChart"/>
    <dgm:cxn modelId="{2BF2F598-C806-4270-8F69-C8461CE4002B}" type="presParOf" srcId="{5CDB31E8-654A-46DF-A7C9-06B5EA1B6B5B}" destId="{634B3815-ECFF-42CD-A137-9C9447E92CAA}" srcOrd="0" destOrd="0" presId="urn:microsoft.com/office/officeart/2009/3/layout/HorizontalOrganizationChart"/>
    <dgm:cxn modelId="{5300B18E-9E6E-4DB1-8ABB-93C3FAF498E8}" type="presParOf" srcId="{5CDB31E8-654A-46DF-A7C9-06B5EA1B6B5B}" destId="{5F22B472-0672-4F7B-AAF4-636A31A59B93}" srcOrd="1" destOrd="0" presId="urn:microsoft.com/office/officeart/2009/3/layout/HorizontalOrganizationChart"/>
    <dgm:cxn modelId="{4F42A380-A199-41EC-B739-A043541D4257}" type="presParOf" srcId="{60301F6F-9B58-4282-B513-E14C05CFDEDF}" destId="{46281404-D87D-4721-B874-3755EF692586}" srcOrd="1" destOrd="0" presId="urn:microsoft.com/office/officeart/2009/3/layout/HorizontalOrganizationChart"/>
    <dgm:cxn modelId="{0C89FF3B-C6F7-4E7C-B4D6-9222C19228BC}" type="presParOf" srcId="{60301F6F-9B58-4282-B513-E14C05CFDEDF}" destId="{6FBBC670-8AAD-48F2-AC14-2F86C2A3EB5A}" srcOrd="2" destOrd="0" presId="urn:microsoft.com/office/officeart/2009/3/layout/HorizontalOrganizationChart"/>
    <dgm:cxn modelId="{6432C148-F775-4720-9C88-9E381FF93D84}" type="presParOf" srcId="{ADB8CA0C-FC45-4826-905A-F719C57A12B9}" destId="{FC89D892-5B20-4797-88C3-2ECB07033A8B}" srcOrd="6" destOrd="0" presId="urn:microsoft.com/office/officeart/2009/3/layout/HorizontalOrganizationChart"/>
    <dgm:cxn modelId="{D185F4B1-05D9-4256-B1AB-7E82EC4AE8F6}" type="presParOf" srcId="{ADB8CA0C-FC45-4826-905A-F719C57A12B9}" destId="{2CF2A37A-EBD4-4F69-A3D1-10FA9BBC686D}" srcOrd="7" destOrd="0" presId="urn:microsoft.com/office/officeart/2009/3/layout/HorizontalOrganizationChart"/>
    <dgm:cxn modelId="{AD5C8D55-9AA9-4FC7-8736-4E2B7C12CB04}" type="presParOf" srcId="{2CF2A37A-EBD4-4F69-A3D1-10FA9BBC686D}" destId="{9771DDD2-7690-41AB-8A95-963E6BA52895}" srcOrd="0" destOrd="0" presId="urn:microsoft.com/office/officeart/2009/3/layout/HorizontalOrganizationChart"/>
    <dgm:cxn modelId="{71005AB9-ABA5-4777-81CD-42F290231CE5}" type="presParOf" srcId="{9771DDD2-7690-41AB-8A95-963E6BA52895}" destId="{E3E0B59D-FC9C-4FB8-93BC-E8BEC1B31B2D}" srcOrd="0" destOrd="0" presId="urn:microsoft.com/office/officeart/2009/3/layout/HorizontalOrganizationChart"/>
    <dgm:cxn modelId="{00105E86-883C-49A9-9A25-13F5188BA8DE}" type="presParOf" srcId="{9771DDD2-7690-41AB-8A95-963E6BA52895}" destId="{735167A3-0269-48D8-B4AB-98EA5F30F7FF}" srcOrd="1" destOrd="0" presId="urn:microsoft.com/office/officeart/2009/3/layout/HorizontalOrganizationChart"/>
    <dgm:cxn modelId="{433D123C-43B6-46D6-A0EC-28E095F4E28D}" type="presParOf" srcId="{2CF2A37A-EBD4-4F69-A3D1-10FA9BBC686D}" destId="{449FCA8A-0AA0-4C83-976B-5270BD4CAEDC}" srcOrd="1" destOrd="0" presId="urn:microsoft.com/office/officeart/2009/3/layout/HorizontalOrganizationChart"/>
    <dgm:cxn modelId="{FD0C6A16-11E7-4727-8E94-6A25E3727E9D}" type="presParOf" srcId="{449FCA8A-0AA0-4C83-976B-5270BD4CAEDC}" destId="{46EFEB4B-64A0-4665-8B27-B4E463234FF8}" srcOrd="0" destOrd="0" presId="urn:microsoft.com/office/officeart/2009/3/layout/HorizontalOrganizationChart"/>
    <dgm:cxn modelId="{FCF30CD1-90B6-44EF-8999-FAACF4BA66BF}" type="presParOf" srcId="{449FCA8A-0AA0-4C83-976B-5270BD4CAEDC}" destId="{85E6950D-A806-402E-B25D-2AEB672FD359}" srcOrd="1" destOrd="0" presId="urn:microsoft.com/office/officeart/2009/3/layout/HorizontalOrganizationChart"/>
    <dgm:cxn modelId="{E3B9A521-989E-451F-96A7-D8C929139F43}" type="presParOf" srcId="{85E6950D-A806-402E-B25D-2AEB672FD359}" destId="{A9D552F8-9195-48CF-9201-0CB8255E609E}" srcOrd="0" destOrd="0" presId="urn:microsoft.com/office/officeart/2009/3/layout/HorizontalOrganizationChart"/>
    <dgm:cxn modelId="{FE79FF6F-97AB-41DF-8B25-45A0A5F3F050}" type="presParOf" srcId="{A9D552F8-9195-48CF-9201-0CB8255E609E}" destId="{EEC39609-EB1E-453E-8EEC-A65C6FF954C1}" srcOrd="0" destOrd="0" presId="urn:microsoft.com/office/officeart/2009/3/layout/HorizontalOrganizationChart"/>
    <dgm:cxn modelId="{704466FE-AE88-44C2-9292-D7EC011D5778}" type="presParOf" srcId="{A9D552F8-9195-48CF-9201-0CB8255E609E}" destId="{805CF530-6473-4C69-B637-0716828120D0}" srcOrd="1" destOrd="0" presId="urn:microsoft.com/office/officeart/2009/3/layout/HorizontalOrganizationChart"/>
    <dgm:cxn modelId="{704297AA-39D4-4BC0-95CD-362362764EAB}" type="presParOf" srcId="{85E6950D-A806-402E-B25D-2AEB672FD359}" destId="{97E0A501-EC2F-4F61-A3D1-1B5660CB7B36}" srcOrd="1" destOrd="0" presId="urn:microsoft.com/office/officeart/2009/3/layout/HorizontalOrganizationChart"/>
    <dgm:cxn modelId="{3FFCB97C-17D9-4DED-B1B9-14A5A0DDC3FA}" type="presParOf" srcId="{85E6950D-A806-402E-B25D-2AEB672FD359}" destId="{007D7DA5-14EC-4C88-8271-9524348588CB}" srcOrd="2" destOrd="0" presId="urn:microsoft.com/office/officeart/2009/3/layout/HorizontalOrganizationChart"/>
    <dgm:cxn modelId="{0D5A0B87-E504-4E82-B597-FEE40FBCCC7D}" type="presParOf" srcId="{449FCA8A-0AA0-4C83-976B-5270BD4CAEDC}" destId="{8FC7FC13-0597-467D-995D-A3B99B411323}" srcOrd="2" destOrd="0" presId="urn:microsoft.com/office/officeart/2009/3/layout/HorizontalOrganizationChart"/>
    <dgm:cxn modelId="{1C1F653B-834F-4385-8EA7-15F1557BD043}" type="presParOf" srcId="{449FCA8A-0AA0-4C83-976B-5270BD4CAEDC}" destId="{4C178D41-7CEF-4E7B-8D79-305D6181FC2E}" srcOrd="3" destOrd="0" presId="urn:microsoft.com/office/officeart/2009/3/layout/HorizontalOrganizationChart"/>
    <dgm:cxn modelId="{C43EBDDB-CED4-4C01-A5DB-D2BBBE19E86B}" type="presParOf" srcId="{4C178D41-7CEF-4E7B-8D79-305D6181FC2E}" destId="{294E68B4-16B6-4446-A2AD-7302E6FD9E36}" srcOrd="0" destOrd="0" presId="urn:microsoft.com/office/officeart/2009/3/layout/HorizontalOrganizationChart"/>
    <dgm:cxn modelId="{B828508D-A7F9-4B71-A84F-42A8EA7237AA}" type="presParOf" srcId="{294E68B4-16B6-4446-A2AD-7302E6FD9E36}" destId="{969286A3-2212-4C69-B2EC-2892D0738A12}" srcOrd="0" destOrd="0" presId="urn:microsoft.com/office/officeart/2009/3/layout/HorizontalOrganizationChart"/>
    <dgm:cxn modelId="{75BAC586-DFCD-4B9B-B0FD-EA2BBA5974AB}" type="presParOf" srcId="{294E68B4-16B6-4446-A2AD-7302E6FD9E36}" destId="{FA0D861F-0995-442C-A400-9FC20D490B7F}" srcOrd="1" destOrd="0" presId="urn:microsoft.com/office/officeart/2009/3/layout/HorizontalOrganizationChart"/>
    <dgm:cxn modelId="{801FCA0B-2854-4A68-9351-EA4FCB1D88C0}" type="presParOf" srcId="{4C178D41-7CEF-4E7B-8D79-305D6181FC2E}" destId="{0DE300B1-3EDC-4A31-AE22-BE0829D99932}" srcOrd="1" destOrd="0" presId="urn:microsoft.com/office/officeart/2009/3/layout/HorizontalOrganizationChart"/>
    <dgm:cxn modelId="{DE60ED2E-F33F-4560-B8B0-4CF98A6F5525}" type="presParOf" srcId="{4C178D41-7CEF-4E7B-8D79-305D6181FC2E}" destId="{3CEAF7A0-84A2-4C73-B955-3BEC2862FC73}" srcOrd="2" destOrd="0" presId="urn:microsoft.com/office/officeart/2009/3/layout/HorizontalOrganizationChart"/>
    <dgm:cxn modelId="{BC0C32D7-FF65-475D-A6D6-3ACE8E2F0882}" type="presParOf" srcId="{449FCA8A-0AA0-4C83-976B-5270BD4CAEDC}" destId="{5CC4BD18-CD72-427B-8A52-EA9255DA7E2F}" srcOrd="4" destOrd="0" presId="urn:microsoft.com/office/officeart/2009/3/layout/HorizontalOrganizationChart"/>
    <dgm:cxn modelId="{E70DE97A-C0D3-49C2-8BE2-50891BCF79AA}" type="presParOf" srcId="{449FCA8A-0AA0-4C83-976B-5270BD4CAEDC}" destId="{6BB85FEC-A79E-43DE-A0DD-C1FA4AE8AB0E}" srcOrd="5" destOrd="0" presId="urn:microsoft.com/office/officeart/2009/3/layout/HorizontalOrganizationChart"/>
    <dgm:cxn modelId="{9100EC39-CF6E-4CB3-A50B-23252A65E03A}" type="presParOf" srcId="{6BB85FEC-A79E-43DE-A0DD-C1FA4AE8AB0E}" destId="{BB1F8CBB-BFC4-4E3E-BB63-EBF0D8DFD6A2}" srcOrd="0" destOrd="0" presId="urn:microsoft.com/office/officeart/2009/3/layout/HorizontalOrganizationChart"/>
    <dgm:cxn modelId="{015473F7-A2FD-411A-959F-FC250451B3F9}" type="presParOf" srcId="{BB1F8CBB-BFC4-4E3E-BB63-EBF0D8DFD6A2}" destId="{A5E0E567-2145-4551-B683-EC35457C632D}" srcOrd="0" destOrd="0" presId="urn:microsoft.com/office/officeart/2009/3/layout/HorizontalOrganizationChart"/>
    <dgm:cxn modelId="{398500B2-9B5E-40CB-A133-29A0AC5C834D}" type="presParOf" srcId="{BB1F8CBB-BFC4-4E3E-BB63-EBF0D8DFD6A2}" destId="{7AA29A92-F1A3-44CF-B62B-8D442305DC00}" srcOrd="1" destOrd="0" presId="urn:microsoft.com/office/officeart/2009/3/layout/HorizontalOrganizationChart"/>
    <dgm:cxn modelId="{CE42E07A-17E7-4010-8D76-AAB73249638B}" type="presParOf" srcId="{6BB85FEC-A79E-43DE-A0DD-C1FA4AE8AB0E}" destId="{8FA9E42F-57DC-4EC8-82E2-37085F786320}" srcOrd="1" destOrd="0" presId="urn:microsoft.com/office/officeart/2009/3/layout/HorizontalOrganizationChart"/>
    <dgm:cxn modelId="{60B95F88-CA48-4CD0-9756-CB504A4FF6B5}" type="presParOf" srcId="{6BB85FEC-A79E-43DE-A0DD-C1FA4AE8AB0E}" destId="{BB87B9A5-045E-4B01-B561-8893DEA950D6}" srcOrd="2" destOrd="0" presId="urn:microsoft.com/office/officeart/2009/3/layout/HorizontalOrganizationChart"/>
    <dgm:cxn modelId="{57EA5BFD-6872-4D28-808D-8A9275BA1445}" type="presParOf" srcId="{449FCA8A-0AA0-4C83-976B-5270BD4CAEDC}" destId="{58EF9C69-40D1-4730-951F-76BA79F8B814}" srcOrd="6" destOrd="0" presId="urn:microsoft.com/office/officeart/2009/3/layout/HorizontalOrganizationChart"/>
    <dgm:cxn modelId="{CA072262-600F-459D-A439-B6F86AF5A552}" type="presParOf" srcId="{449FCA8A-0AA0-4C83-976B-5270BD4CAEDC}" destId="{30B31B93-7691-4F4E-98AC-A9DAABF04DA4}" srcOrd="7" destOrd="0" presId="urn:microsoft.com/office/officeart/2009/3/layout/HorizontalOrganizationChart"/>
    <dgm:cxn modelId="{76A671BB-B4BD-4ECA-A46F-7232E1E87128}" type="presParOf" srcId="{30B31B93-7691-4F4E-98AC-A9DAABF04DA4}" destId="{0393A38B-D24C-40AA-9038-F3CFB5913067}" srcOrd="0" destOrd="0" presId="urn:microsoft.com/office/officeart/2009/3/layout/HorizontalOrganizationChart"/>
    <dgm:cxn modelId="{23B40866-01DE-4F0C-8C2C-E1C6E1D66F9A}" type="presParOf" srcId="{0393A38B-D24C-40AA-9038-F3CFB5913067}" destId="{14728D5C-4BA9-4958-AC82-4AA54D67161F}" srcOrd="0" destOrd="0" presId="urn:microsoft.com/office/officeart/2009/3/layout/HorizontalOrganizationChart"/>
    <dgm:cxn modelId="{3F3F77E4-C399-4BD8-A7D7-8AEC9A35D2D2}" type="presParOf" srcId="{0393A38B-D24C-40AA-9038-F3CFB5913067}" destId="{47B6F9DB-6625-4E46-9265-45A66DBB3209}" srcOrd="1" destOrd="0" presId="urn:microsoft.com/office/officeart/2009/3/layout/HorizontalOrganizationChart"/>
    <dgm:cxn modelId="{F3E324D8-7D73-43AC-B4CC-32751F2811C6}" type="presParOf" srcId="{30B31B93-7691-4F4E-98AC-A9DAABF04DA4}" destId="{68F2C123-A6B7-4D38-9554-E105DCD52DF6}" srcOrd="1" destOrd="0" presId="urn:microsoft.com/office/officeart/2009/3/layout/HorizontalOrganizationChart"/>
    <dgm:cxn modelId="{817925A3-96FC-41F1-AA0B-A52B448D2B0E}" type="presParOf" srcId="{30B31B93-7691-4F4E-98AC-A9DAABF04DA4}" destId="{258B0EFB-D9E2-4515-909F-4558E7EDE427}" srcOrd="2" destOrd="0" presId="urn:microsoft.com/office/officeart/2009/3/layout/HorizontalOrganizationChart"/>
    <dgm:cxn modelId="{62B1630C-68E3-4E94-98B5-CEEB9A986E06}" type="presParOf" srcId="{2CF2A37A-EBD4-4F69-A3D1-10FA9BBC686D}" destId="{BE53BE62-4865-48F9-A8CB-9D968BD17B1E}" srcOrd="2" destOrd="0" presId="urn:microsoft.com/office/officeart/2009/3/layout/HorizontalOrganizationChart"/>
    <dgm:cxn modelId="{2EF885BE-1F67-4886-BB5D-9D6578D137E4}" type="presParOf" srcId="{F73CA146-D1DE-4B93-A178-5C716AFB7928}" destId="{5C7DE0A2-6585-4083-951D-C7A640AAE56B}"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DDBA1F8-5260-4E95-A9DF-3C5E21BE890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4FDFAA2-3FB0-4219-8254-2B444A80E6FB}">
      <dgm:prSet/>
      <dgm:spPr/>
      <dgm:t>
        <a:bodyPr/>
        <a:lstStyle/>
        <a:p>
          <a:r>
            <a:rPr lang="en-IN" b="1"/>
            <a:t>Purpose: Persist and retrieve vector embeddings efficiently </a:t>
          </a:r>
          <a:endParaRPr lang="en-US"/>
        </a:p>
      </dgm:t>
    </dgm:pt>
    <dgm:pt modelId="{440E3E78-ED12-4D8E-A62E-18AF2F639454}" type="parTrans" cxnId="{18A4D5BB-DAF7-438F-88B2-C906A2CE5449}">
      <dgm:prSet/>
      <dgm:spPr/>
      <dgm:t>
        <a:bodyPr/>
        <a:lstStyle/>
        <a:p>
          <a:endParaRPr lang="en-US"/>
        </a:p>
      </dgm:t>
    </dgm:pt>
    <dgm:pt modelId="{B19A2C44-BE2B-415B-9978-C30E4F3CE339}" type="sibTrans" cxnId="{18A4D5BB-DAF7-438F-88B2-C906A2CE5449}">
      <dgm:prSet/>
      <dgm:spPr/>
      <dgm:t>
        <a:bodyPr/>
        <a:lstStyle/>
        <a:p>
          <a:endParaRPr lang="en-US"/>
        </a:p>
      </dgm:t>
    </dgm:pt>
    <dgm:pt modelId="{BA0E2C61-8602-4328-A64D-6DDD67571532}">
      <dgm:prSet/>
      <dgm:spPr/>
      <dgm:t>
        <a:bodyPr/>
        <a:lstStyle/>
        <a:p>
          <a:r>
            <a:rPr lang="en-IN" b="1"/>
            <a:t>Implementation: VectorStoreFactory creating specific storage implementations: </a:t>
          </a:r>
          <a:endParaRPr lang="en-US"/>
        </a:p>
      </dgm:t>
    </dgm:pt>
    <dgm:pt modelId="{3CADEB06-BBA2-4DF3-99AC-0C0B60C14E2C}" type="parTrans" cxnId="{CBC89AED-B80B-4036-A89E-0F6EBC747DCE}">
      <dgm:prSet/>
      <dgm:spPr/>
      <dgm:t>
        <a:bodyPr/>
        <a:lstStyle/>
        <a:p>
          <a:endParaRPr lang="en-US"/>
        </a:p>
      </dgm:t>
    </dgm:pt>
    <dgm:pt modelId="{715F8363-73BF-4ECC-8E3F-DDFFB16BE5E8}" type="sibTrans" cxnId="{CBC89AED-B80B-4036-A89E-0F6EBC747DCE}">
      <dgm:prSet/>
      <dgm:spPr/>
      <dgm:t>
        <a:bodyPr/>
        <a:lstStyle/>
        <a:p>
          <a:endParaRPr lang="en-US"/>
        </a:p>
      </dgm:t>
    </dgm:pt>
    <dgm:pt modelId="{310D36A4-6114-4516-AA5E-22CCAA019B71}">
      <dgm:prSet/>
      <dgm:spPr/>
      <dgm:t>
        <a:bodyPr/>
        <a:lstStyle/>
        <a:p>
          <a:r>
            <a:rPr lang="en-IN" b="1"/>
            <a:t>ChromaStore</a:t>
          </a:r>
          <a:endParaRPr lang="en-US"/>
        </a:p>
      </dgm:t>
    </dgm:pt>
    <dgm:pt modelId="{172D82E0-D549-4520-A00B-A1462B5A1E52}" type="parTrans" cxnId="{5845541C-BCC4-4459-A3D6-DC09F784C87D}">
      <dgm:prSet/>
      <dgm:spPr/>
      <dgm:t>
        <a:bodyPr/>
        <a:lstStyle/>
        <a:p>
          <a:endParaRPr lang="en-US"/>
        </a:p>
      </dgm:t>
    </dgm:pt>
    <dgm:pt modelId="{0C2108EF-503B-44D0-9382-930FF944330D}" type="sibTrans" cxnId="{5845541C-BCC4-4459-A3D6-DC09F784C87D}">
      <dgm:prSet/>
      <dgm:spPr/>
      <dgm:t>
        <a:bodyPr/>
        <a:lstStyle/>
        <a:p>
          <a:endParaRPr lang="en-US"/>
        </a:p>
      </dgm:t>
    </dgm:pt>
    <dgm:pt modelId="{5AF9E828-D425-4722-B6C6-BE1224E72A68}">
      <dgm:prSet/>
      <dgm:spPr/>
      <dgm:t>
        <a:bodyPr/>
        <a:lstStyle/>
        <a:p>
          <a:r>
            <a:rPr lang="en-IN" b="1"/>
            <a:t>WeaviateStore</a:t>
          </a:r>
          <a:endParaRPr lang="en-US"/>
        </a:p>
      </dgm:t>
    </dgm:pt>
    <dgm:pt modelId="{77364815-F900-4451-8599-30543CF3C3B4}" type="parTrans" cxnId="{7B29DA25-9EEF-4D2C-B998-20BE3944229E}">
      <dgm:prSet/>
      <dgm:spPr/>
      <dgm:t>
        <a:bodyPr/>
        <a:lstStyle/>
        <a:p>
          <a:endParaRPr lang="en-US"/>
        </a:p>
      </dgm:t>
    </dgm:pt>
    <dgm:pt modelId="{7EAB2261-CCF0-437F-B6A8-254974E8881C}" type="sibTrans" cxnId="{7B29DA25-9EEF-4D2C-B998-20BE3944229E}">
      <dgm:prSet/>
      <dgm:spPr/>
      <dgm:t>
        <a:bodyPr/>
        <a:lstStyle/>
        <a:p>
          <a:endParaRPr lang="en-US"/>
        </a:p>
      </dgm:t>
    </dgm:pt>
    <dgm:pt modelId="{E4C219CD-F663-4166-B0A9-9C59E997CF7E}">
      <dgm:prSet/>
      <dgm:spPr/>
      <dgm:t>
        <a:bodyPr/>
        <a:lstStyle/>
        <a:p>
          <a:r>
            <a:rPr lang="en-IN" b="1"/>
            <a:t>PineconeStore</a:t>
          </a:r>
          <a:endParaRPr lang="en-US"/>
        </a:p>
      </dgm:t>
    </dgm:pt>
    <dgm:pt modelId="{E0767D26-6D68-4945-9C5A-1E0616834997}" type="parTrans" cxnId="{7B9DCDCD-AE58-49B0-ACA4-AE4D5B6742BA}">
      <dgm:prSet/>
      <dgm:spPr/>
      <dgm:t>
        <a:bodyPr/>
        <a:lstStyle/>
        <a:p>
          <a:endParaRPr lang="en-US"/>
        </a:p>
      </dgm:t>
    </dgm:pt>
    <dgm:pt modelId="{11603235-7F2C-46D4-B187-DAAEEE302E04}" type="sibTrans" cxnId="{7B9DCDCD-AE58-49B0-ACA4-AE4D5B6742BA}">
      <dgm:prSet/>
      <dgm:spPr/>
      <dgm:t>
        <a:bodyPr/>
        <a:lstStyle/>
        <a:p>
          <a:endParaRPr lang="en-US"/>
        </a:p>
      </dgm:t>
    </dgm:pt>
    <dgm:pt modelId="{E857CCDE-3937-496D-A511-BC883AEB6D5D}">
      <dgm:prSet/>
      <dgm:spPr/>
      <dgm:t>
        <a:bodyPr/>
        <a:lstStyle/>
        <a:p>
          <a:r>
            <a:rPr lang="en-IN" b="1"/>
            <a:t>FaissStore</a:t>
          </a:r>
          <a:endParaRPr lang="en-US"/>
        </a:p>
      </dgm:t>
    </dgm:pt>
    <dgm:pt modelId="{3FF76DD2-3AF6-4B8E-A9E2-BFF9E4DDF136}" type="parTrans" cxnId="{A005FEFC-7A80-4548-89B6-4AFA3CAE9813}">
      <dgm:prSet/>
      <dgm:spPr/>
      <dgm:t>
        <a:bodyPr/>
        <a:lstStyle/>
        <a:p>
          <a:endParaRPr lang="en-US"/>
        </a:p>
      </dgm:t>
    </dgm:pt>
    <dgm:pt modelId="{3D0AFC8A-5A8E-43B8-B6B8-2DDE3F1E7FFE}" type="sibTrans" cxnId="{A005FEFC-7A80-4548-89B6-4AFA3CAE9813}">
      <dgm:prSet/>
      <dgm:spPr/>
      <dgm:t>
        <a:bodyPr/>
        <a:lstStyle/>
        <a:p>
          <a:endParaRPr lang="en-US"/>
        </a:p>
      </dgm:t>
    </dgm:pt>
    <dgm:pt modelId="{C64D1CA6-D9DA-432A-9C22-A87297DEC867}" type="pres">
      <dgm:prSet presAssocID="{FDDBA1F8-5260-4E95-A9DF-3C5E21BE8901}" presName="linear" presStyleCnt="0">
        <dgm:presLayoutVars>
          <dgm:animLvl val="lvl"/>
          <dgm:resizeHandles val="exact"/>
        </dgm:presLayoutVars>
      </dgm:prSet>
      <dgm:spPr/>
    </dgm:pt>
    <dgm:pt modelId="{3B8ABE77-9391-4678-AD37-491B2E64C5AB}" type="pres">
      <dgm:prSet presAssocID="{14FDFAA2-3FB0-4219-8254-2B444A80E6FB}" presName="parentText" presStyleLbl="node1" presStyleIdx="0" presStyleCnt="2">
        <dgm:presLayoutVars>
          <dgm:chMax val="0"/>
          <dgm:bulletEnabled val="1"/>
        </dgm:presLayoutVars>
      </dgm:prSet>
      <dgm:spPr/>
    </dgm:pt>
    <dgm:pt modelId="{E33CEE72-BBA1-476B-B063-637FBE0D0AD6}" type="pres">
      <dgm:prSet presAssocID="{B19A2C44-BE2B-415B-9978-C30E4F3CE339}" presName="spacer" presStyleCnt="0"/>
      <dgm:spPr/>
    </dgm:pt>
    <dgm:pt modelId="{FE228606-4123-4F2F-9785-6124B21B9E91}" type="pres">
      <dgm:prSet presAssocID="{BA0E2C61-8602-4328-A64D-6DDD67571532}" presName="parentText" presStyleLbl="node1" presStyleIdx="1" presStyleCnt="2">
        <dgm:presLayoutVars>
          <dgm:chMax val="0"/>
          <dgm:bulletEnabled val="1"/>
        </dgm:presLayoutVars>
      </dgm:prSet>
      <dgm:spPr/>
    </dgm:pt>
    <dgm:pt modelId="{76EE2CD9-7530-45CA-B962-C5D3000EC0EA}" type="pres">
      <dgm:prSet presAssocID="{BA0E2C61-8602-4328-A64D-6DDD67571532}" presName="childText" presStyleLbl="revTx" presStyleIdx="0" presStyleCnt="1">
        <dgm:presLayoutVars>
          <dgm:bulletEnabled val="1"/>
        </dgm:presLayoutVars>
      </dgm:prSet>
      <dgm:spPr/>
    </dgm:pt>
  </dgm:ptLst>
  <dgm:cxnLst>
    <dgm:cxn modelId="{5845541C-BCC4-4459-A3D6-DC09F784C87D}" srcId="{BA0E2C61-8602-4328-A64D-6DDD67571532}" destId="{310D36A4-6114-4516-AA5E-22CCAA019B71}" srcOrd="0" destOrd="0" parTransId="{172D82E0-D549-4520-A00B-A1462B5A1E52}" sibTransId="{0C2108EF-503B-44D0-9382-930FF944330D}"/>
    <dgm:cxn modelId="{7B29DA25-9EEF-4D2C-B998-20BE3944229E}" srcId="{BA0E2C61-8602-4328-A64D-6DDD67571532}" destId="{5AF9E828-D425-4722-B6C6-BE1224E72A68}" srcOrd="1" destOrd="0" parTransId="{77364815-F900-4451-8599-30543CF3C3B4}" sibTransId="{7EAB2261-CCF0-437F-B6A8-254974E8881C}"/>
    <dgm:cxn modelId="{B703612C-AA65-4379-9C59-A87C9F73D95C}" type="presOf" srcId="{5AF9E828-D425-4722-B6C6-BE1224E72A68}" destId="{76EE2CD9-7530-45CA-B962-C5D3000EC0EA}" srcOrd="0" destOrd="1" presId="urn:microsoft.com/office/officeart/2005/8/layout/vList2"/>
    <dgm:cxn modelId="{9619132E-5897-4DEB-935C-563BA983D748}" type="presOf" srcId="{E857CCDE-3937-496D-A511-BC883AEB6D5D}" destId="{76EE2CD9-7530-45CA-B962-C5D3000EC0EA}" srcOrd="0" destOrd="3" presId="urn:microsoft.com/office/officeart/2005/8/layout/vList2"/>
    <dgm:cxn modelId="{5342735B-507D-4BC8-A207-3017D64BF74B}" type="presOf" srcId="{BA0E2C61-8602-4328-A64D-6DDD67571532}" destId="{FE228606-4123-4F2F-9785-6124B21B9E91}" srcOrd="0" destOrd="0" presId="urn:microsoft.com/office/officeart/2005/8/layout/vList2"/>
    <dgm:cxn modelId="{DE964B41-4CC2-4578-93E7-F049AAD9467B}" type="presOf" srcId="{FDDBA1F8-5260-4E95-A9DF-3C5E21BE8901}" destId="{C64D1CA6-D9DA-432A-9C22-A87297DEC867}" srcOrd="0" destOrd="0" presId="urn:microsoft.com/office/officeart/2005/8/layout/vList2"/>
    <dgm:cxn modelId="{C942FF79-1CA1-4784-89CE-508CA9C9FC45}" type="presOf" srcId="{14FDFAA2-3FB0-4219-8254-2B444A80E6FB}" destId="{3B8ABE77-9391-4678-AD37-491B2E64C5AB}" srcOrd="0" destOrd="0" presId="urn:microsoft.com/office/officeart/2005/8/layout/vList2"/>
    <dgm:cxn modelId="{4467D583-819F-4BF6-B89F-AD08C1BC6A7A}" type="presOf" srcId="{310D36A4-6114-4516-AA5E-22CCAA019B71}" destId="{76EE2CD9-7530-45CA-B962-C5D3000EC0EA}" srcOrd="0" destOrd="0" presId="urn:microsoft.com/office/officeart/2005/8/layout/vList2"/>
    <dgm:cxn modelId="{18A4D5BB-DAF7-438F-88B2-C906A2CE5449}" srcId="{FDDBA1F8-5260-4E95-A9DF-3C5E21BE8901}" destId="{14FDFAA2-3FB0-4219-8254-2B444A80E6FB}" srcOrd="0" destOrd="0" parTransId="{440E3E78-ED12-4D8E-A62E-18AF2F639454}" sibTransId="{B19A2C44-BE2B-415B-9978-C30E4F3CE339}"/>
    <dgm:cxn modelId="{94DAB5C3-3E2E-43A8-BF8B-091CB414CBC9}" type="presOf" srcId="{E4C219CD-F663-4166-B0A9-9C59E997CF7E}" destId="{76EE2CD9-7530-45CA-B962-C5D3000EC0EA}" srcOrd="0" destOrd="2" presId="urn:microsoft.com/office/officeart/2005/8/layout/vList2"/>
    <dgm:cxn modelId="{7B9DCDCD-AE58-49B0-ACA4-AE4D5B6742BA}" srcId="{BA0E2C61-8602-4328-A64D-6DDD67571532}" destId="{E4C219CD-F663-4166-B0A9-9C59E997CF7E}" srcOrd="2" destOrd="0" parTransId="{E0767D26-6D68-4945-9C5A-1E0616834997}" sibTransId="{11603235-7F2C-46D4-B187-DAAEEE302E04}"/>
    <dgm:cxn modelId="{CBC89AED-B80B-4036-A89E-0F6EBC747DCE}" srcId="{FDDBA1F8-5260-4E95-A9DF-3C5E21BE8901}" destId="{BA0E2C61-8602-4328-A64D-6DDD67571532}" srcOrd="1" destOrd="0" parTransId="{3CADEB06-BBA2-4DF3-99AC-0C0B60C14E2C}" sibTransId="{715F8363-73BF-4ECC-8E3F-DDFFB16BE5E8}"/>
    <dgm:cxn modelId="{A005FEFC-7A80-4548-89B6-4AFA3CAE9813}" srcId="{BA0E2C61-8602-4328-A64D-6DDD67571532}" destId="{E857CCDE-3937-496D-A511-BC883AEB6D5D}" srcOrd="3" destOrd="0" parTransId="{3FF76DD2-3AF6-4B8E-A9E2-BFF9E4DDF136}" sibTransId="{3D0AFC8A-5A8E-43B8-B6B8-2DDE3F1E7FFE}"/>
    <dgm:cxn modelId="{A487DDFA-BECE-473C-8D23-252C5DBA3D60}" type="presParOf" srcId="{C64D1CA6-D9DA-432A-9C22-A87297DEC867}" destId="{3B8ABE77-9391-4678-AD37-491B2E64C5AB}" srcOrd="0" destOrd="0" presId="urn:microsoft.com/office/officeart/2005/8/layout/vList2"/>
    <dgm:cxn modelId="{ABF705FE-127A-463C-9651-B3651D880EBB}" type="presParOf" srcId="{C64D1CA6-D9DA-432A-9C22-A87297DEC867}" destId="{E33CEE72-BBA1-476B-B063-637FBE0D0AD6}" srcOrd="1" destOrd="0" presId="urn:microsoft.com/office/officeart/2005/8/layout/vList2"/>
    <dgm:cxn modelId="{FF6C4DC3-FC2A-469E-9293-9EA8D3983150}" type="presParOf" srcId="{C64D1CA6-D9DA-432A-9C22-A87297DEC867}" destId="{FE228606-4123-4F2F-9785-6124B21B9E91}" srcOrd="2" destOrd="0" presId="urn:microsoft.com/office/officeart/2005/8/layout/vList2"/>
    <dgm:cxn modelId="{A5A4C0FE-22E5-42DB-B4E5-BE07986CBC88}" type="presParOf" srcId="{C64D1CA6-D9DA-432A-9C22-A87297DEC867}" destId="{76EE2CD9-7530-45CA-B962-C5D3000EC0EA}"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F38819D-2F7F-46EB-9D0E-A9D8B3F452CB}" type="doc">
      <dgm:prSet loTypeId="urn:microsoft.com/office/officeart/2005/8/layout/default" loCatId="list" qsTypeId="urn:microsoft.com/office/officeart/2005/8/quickstyle/simple2" qsCatId="simple" csTypeId="urn:microsoft.com/office/officeart/2005/8/colors/accent1_2" csCatId="accent1"/>
      <dgm:spPr/>
      <dgm:t>
        <a:bodyPr/>
        <a:lstStyle/>
        <a:p>
          <a:endParaRPr lang="en-US"/>
        </a:p>
      </dgm:t>
    </dgm:pt>
    <dgm:pt modelId="{1DB6CC29-9F67-4E5A-BBAA-305FA4AC4E69}">
      <dgm:prSet/>
      <dgm:spPr/>
      <dgm:t>
        <a:bodyPr/>
        <a:lstStyle/>
        <a:p>
          <a:r>
            <a:rPr lang="en-IN" b="1"/>
            <a:t>Base Interface</a:t>
          </a:r>
          <a:r>
            <a:rPr lang="en-IN"/>
            <a:t>: BaseRAG abstract class with: </a:t>
          </a:r>
          <a:endParaRPr lang="en-US"/>
        </a:p>
      </dgm:t>
    </dgm:pt>
    <dgm:pt modelId="{9D292F98-15B2-45E2-A4F7-901988013F35}" type="parTrans" cxnId="{7AAC93FF-893B-48C1-9276-0F01EAAD1CD4}">
      <dgm:prSet/>
      <dgm:spPr/>
      <dgm:t>
        <a:bodyPr/>
        <a:lstStyle/>
        <a:p>
          <a:endParaRPr lang="en-US"/>
        </a:p>
      </dgm:t>
    </dgm:pt>
    <dgm:pt modelId="{19B2A1AA-987A-43B8-B54C-8CB25DFC0423}" type="sibTrans" cxnId="{7AAC93FF-893B-48C1-9276-0F01EAAD1CD4}">
      <dgm:prSet/>
      <dgm:spPr/>
      <dgm:t>
        <a:bodyPr/>
        <a:lstStyle/>
        <a:p>
          <a:endParaRPr lang="en-US"/>
        </a:p>
      </dgm:t>
    </dgm:pt>
    <dgm:pt modelId="{32C687F5-4474-40FD-94A8-933993C6A58A}">
      <dgm:prSet/>
      <dgm:spPr/>
      <dgm:t>
        <a:bodyPr/>
        <a:lstStyle/>
        <a:p>
          <a:r>
            <a:rPr lang="en-IN"/>
            <a:t>process_documents(zip_path)</a:t>
          </a:r>
          <a:endParaRPr lang="en-US"/>
        </a:p>
      </dgm:t>
    </dgm:pt>
    <dgm:pt modelId="{94F3DF95-998B-413D-AB76-C2A659D626CB}" type="parTrans" cxnId="{28C1CEE3-ED77-49EF-B798-81DE04B9FAEF}">
      <dgm:prSet/>
      <dgm:spPr/>
      <dgm:t>
        <a:bodyPr/>
        <a:lstStyle/>
        <a:p>
          <a:endParaRPr lang="en-US"/>
        </a:p>
      </dgm:t>
    </dgm:pt>
    <dgm:pt modelId="{14B06AC7-9422-4CCA-B394-095998F8F329}" type="sibTrans" cxnId="{28C1CEE3-ED77-49EF-B798-81DE04B9FAEF}">
      <dgm:prSet/>
      <dgm:spPr/>
      <dgm:t>
        <a:bodyPr/>
        <a:lstStyle/>
        <a:p>
          <a:endParaRPr lang="en-US"/>
        </a:p>
      </dgm:t>
    </dgm:pt>
    <dgm:pt modelId="{F16EDFA0-B491-4D96-A761-C3A8CA0B3765}">
      <dgm:prSet/>
      <dgm:spPr/>
      <dgm:t>
        <a:bodyPr/>
        <a:lstStyle/>
        <a:p>
          <a:r>
            <a:rPr lang="en-IN"/>
            <a:t>generate_response(query, max_length)</a:t>
          </a:r>
          <a:endParaRPr lang="en-US"/>
        </a:p>
      </dgm:t>
    </dgm:pt>
    <dgm:pt modelId="{1B3D01F9-A607-438D-A766-EC69AC8D04EF}" type="parTrans" cxnId="{85B0E26A-2346-415B-B780-283FFFFC9170}">
      <dgm:prSet/>
      <dgm:spPr/>
      <dgm:t>
        <a:bodyPr/>
        <a:lstStyle/>
        <a:p>
          <a:endParaRPr lang="en-US"/>
        </a:p>
      </dgm:t>
    </dgm:pt>
    <dgm:pt modelId="{060AFD9D-66E3-4D65-AF27-10F51B2BE21A}" type="sibTrans" cxnId="{85B0E26A-2346-415B-B780-283FFFFC9170}">
      <dgm:prSet/>
      <dgm:spPr/>
      <dgm:t>
        <a:bodyPr/>
        <a:lstStyle/>
        <a:p>
          <a:endParaRPr lang="en-US"/>
        </a:p>
      </dgm:t>
    </dgm:pt>
    <dgm:pt modelId="{E9A3D9AF-2023-4841-A0D7-D9A33390922A}">
      <dgm:prSet/>
      <dgm:spPr/>
      <dgm:t>
        <a:bodyPr/>
        <a:lstStyle/>
        <a:p>
          <a:r>
            <a:rPr lang="en-IN"/>
            <a:t>retrieve_context(query, max_docs)</a:t>
          </a:r>
          <a:endParaRPr lang="en-US"/>
        </a:p>
      </dgm:t>
    </dgm:pt>
    <dgm:pt modelId="{213012D5-1E3F-4807-8984-9FED0CEB82D7}" type="parTrans" cxnId="{80882101-A936-43CD-B984-E3E500C6944E}">
      <dgm:prSet/>
      <dgm:spPr/>
      <dgm:t>
        <a:bodyPr/>
        <a:lstStyle/>
        <a:p>
          <a:endParaRPr lang="en-US"/>
        </a:p>
      </dgm:t>
    </dgm:pt>
    <dgm:pt modelId="{FCB8238D-D6B6-45AB-9CE2-241F917D493B}" type="sibTrans" cxnId="{80882101-A936-43CD-B984-E3E500C6944E}">
      <dgm:prSet/>
      <dgm:spPr/>
      <dgm:t>
        <a:bodyPr/>
        <a:lstStyle/>
        <a:p>
          <a:endParaRPr lang="en-US"/>
        </a:p>
      </dgm:t>
    </dgm:pt>
    <dgm:pt modelId="{1566CB1E-A555-4FA4-A234-199CD85AE741}">
      <dgm:prSet/>
      <dgm:spPr/>
      <dgm:t>
        <a:bodyPr/>
        <a:lstStyle/>
        <a:p>
          <a:r>
            <a:rPr lang="en-IN" b="1"/>
            <a:t>Implementation Types</a:t>
          </a:r>
          <a:r>
            <a:rPr lang="en-IN"/>
            <a:t>: </a:t>
          </a:r>
          <a:endParaRPr lang="en-US"/>
        </a:p>
      </dgm:t>
    </dgm:pt>
    <dgm:pt modelId="{8FDFBA20-8F1E-4761-8C89-D03CEC644AAF}" type="parTrans" cxnId="{D2B3FC9A-48D2-4EA9-A469-73957DC416FD}">
      <dgm:prSet/>
      <dgm:spPr/>
      <dgm:t>
        <a:bodyPr/>
        <a:lstStyle/>
        <a:p>
          <a:endParaRPr lang="en-US"/>
        </a:p>
      </dgm:t>
    </dgm:pt>
    <dgm:pt modelId="{C7E2432E-ABAC-4379-8E4F-65B990B777F1}" type="sibTrans" cxnId="{D2B3FC9A-48D2-4EA9-A469-73957DC416FD}">
      <dgm:prSet/>
      <dgm:spPr/>
      <dgm:t>
        <a:bodyPr/>
        <a:lstStyle/>
        <a:p>
          <a:endParaRPr lang="en-US"/>
        </a:p>
      </dgm:t>
    </dgm:pt>
    <dgm:pt modelId="{4BE17C01-705D-48DE-A82F-B23D710C3186}">
      <dgm:prSet/>
      <dgm:spPr/>
      <dgm:t>
        <a:bodyPr/>
        <a:lstStyle/>
        <a:p>
          <a:r>
            <a:rPr lang="en-IN"/>
            <a:t>StandardRAG: Basic retrieval and generation</a:t>
          </a:r>
          <a:endParaRPr lang="en-US"/>
        </a:p>
      </dgm:t>
    </dgm:pt>
    <dgm:pt modelId="{E1F78E30-A85E-4464-A190-E7CB33D5D829}" type="parTrans" cxnId="{D834E053-0254-499F-9A1B-6C3A94758124}">
      <dgm:prSet/>
      <dgm:spPr/>
      <dgm:t>
        <a:bodyPr/>
        <a:lstStyle/>
        <a:p>
          <a:endParaRPr lang="en-US"/>
        </a:p>
      </dgm:t>
    </dgm:pt>
    <dgm:pt modelId="{85A8056B-1CC2-4225-80B1-3C7B000359B1}" type="sibTrans" cxnId="{D834E053-0254-499F-9A1B-6C3A94758124}">
      <dgm:prSet/>
      <dgm:spPr/>
      <dgm:t>
        <a:bodyPr/>
        <a:lstStyle/>
        <a:p>
          <a:endParaRPr lang="en-US"/>
        </a:p>
      </dgm:t>
    </dgm:pt>
    <dgm:pt modelId="{89B96260-94E5-4640-A32F-EBB5C20BB3AC}">
      <dgm:prSet/>
      <dgm:spPr/>
      <dgm:t>
        <a:bodyPr/>
        <a:lstStyle/>
        <a:p>
          <a:r>
            <a:rPr lang="en-IN"/>
            <a:t>GraphRAG: Knowledge graph-enhanced retrieval</a:t>
          </a:r>
          <a:endParaRPr lang="en-US"/>
        </a:p>
      </dgm:t>
    </dgm:pt>
    <dgm:pt modelId="{B3798DC3-6158-4C3D-A64A-A4A958ACD2EC}" type="parTrans" cxnId="{3EBFA40A-7991-400A-B58F-9C7585376BE0}">
      <dgm:prSet/>
      <dgm:spPr/>
      <dgm:t>
        <a:bodyPr/>
        <a:lstStyle/>
        <a:p>
          <a:endParaRPr lang="en-US"/>
        </a:p>
      </dgm:t>
    </dgm:pt>
    <dgm:pt modelId="{C6D82E5D-9C30-4D12-8172-C2D56A87EB1D}" type="sibTrans" cxnId="{3EBFA40A-7991-400A-B58F-9C7585376BE0}">
      <dgm:prSet/>
      <dgm:spPr/>
      <dgm:t>
        <a:bodyPr/>
        <a:lstStyle/>
        <a:p>
          <a:endParaRPr lang="en-US"/>
        </a:p>
      </dgm:t>
    </dgm:pt>
    <dgm:pt modelId="{2016F684-A34A-4122-BE21-5D9C686DFFDA}">
      <dgm:prSet/>
      <dgm:spPr/>
      <dgm:t>
        <a:bodyPr/>
        <a:lstStyle/>
        <a:p>
          <a:r>
            <a:rPr lang="en-IN"/>
            <a:t>AdaptiveRAG: Confidence-based adaptive retrieval</a:t>
          </a:r>
          <a:endParaRPr lang="en-US"/>
        </a:p>
      </dgm:t>
    </dgm:pt>
    <dgm:pt modelId="{56F646DB-A534-4DE1-A0B0-67512F84414D}" type="parTrans" cxnId="{E265C0B3-FCDE-4EBE-AD8C-40D35E9A252A}">
      <dgm:prSet/>
      <dgm:spPr/>
      <dgm:t>
        <a:bodyPr/>
        <a:lstStyle/>
        <a:p>
          <a:endParaRPr lang="en-US"/>
        </a:p>
      </dgm:t>
    </dgm:pt>
    <dgm:pt modelId="{0A27FB25-3793-4A28-92DF-FB2A4979EFE1}" type="sibTrans" cxnId="{E265C0B3-FCDE-4EBE-AD8C-40D35E9A252A}">
      <dgm:prSet/>
      <dgm:spPr/>
      <dgm:t>
        <a:bodyPr/>
        <a:lstStyle/>
        <a:p>
          <a:endParaRPr lang="en-US"/>
        </a:p>
      </dgm:t>
    </dgm:pt>
    <dgm:pt modelId="{28FC750E-2E51-4591-AAD0-3D9C09355A73}">
      <dgm:prSet/>
      <dgm:spPr/>
      <dgm:t>
        <a:bodyPr/>
        <a:lstStyle/>
        <a:p>
          <a:r>
            <a:rPr lang="en-IN"/>
            <a:t>IterativeRAG: Multi-step retrieval process</a:t>
          </a:r>
          <a:endParaRPr lang="en-US"/>
        </a:p>
      </dgm:t>
    </dgm:pt>
    <dgm:pt modelId="{CFC75041-52E6-46A3-88BE-F7EF3A1208D8}" type="parTrans" cxnId="{CD38C2C5-30C2-4CCB-894F-FE6FD36854C0}">
      <dgm:prSet/>
      <dgm:spPr/>
      <dgm:t>
        <a:bodyPr/>
        <a:lstStyle/>
        <a:p>
          <a:endParaRPr lang="en-US"/>
        </a:p>
      </dgm:t>
    </dgm:pt>
    <dgm:pt modelId="{A1CE4A41-F0FB-4749-97BA-25353016FBC9}" type="sibTrans" cxnId="{CD38C2C5-30C2-4CCB-894F-FE6FD36854C0}">
      <dgm:prSet/>
      <dgm:spPr/>
      <dgm:t>
        <a:bodyPr/>
        <a:lstStyle/>
        <a:p>
          <a:endParaRPr lang="en-US"/>
        </a:p>
      </dgm:t>
    </dgm:pt>
    <dgm:pt modelId="{C836D770-EA6A-4002-AE7C-A204A70C69E3}">
      <dgm:prSet/>
      <dgm:spPr/>
      <dgm:t>
        <a:bodyPr/>
        <a:lstStyle/>
        <a:p>
          <a:r>
            <a:rPr lang="en-IN"/>
            <a:t>CorrectiveRAG: Fact-checked responses</a:t>
          </a:r>
          <a:endParaRPr lang="en-US"/>
        </a:p>
      </dgm:t>
    </dgm:pt>
    <dgm:pt modelId="{AD93A082-48EB-4102-81F0-BDEB85931082}" type="parTrans" cxnId="{1BC5403D-B7EB-4519-88B4-5D072063E649}">
      <dgm:prSet/>
      <dgm:spPr/>
      <dgm:t>
        <a:bodyPr/>
        <a:lstStyle/>
        <a:p>
          <a:endParaRPr lang="en-US"/>
        </a:p>
      </dgm:t>
    </dgm:pt>
    <dgm:pt modelId="{B3602702-39A0-4BF6-898F-ACA2FCBBA0CF}" type="sibTrans" cxnId="{1BC5403D-B7EB-4519-88B4-5D072063E649}">
      <dgm:prSet/>
      <dgm:spPr/>
      <dgm:t>
        <a:bodyPr/>
        <a:lstStyle/>
        <a:p>
          <a:endParaRPr lang="en-US"/>
        </a:p>
      </dgm:t>
    </dgm:pt>
    <dgm:pt modelId="{F2EF98F4-36D5-4110-A6AF-001438234BB0}">
      <dgm:prSet/>
      <dgm:spPr/>
      <dgm:t>
        <a:bodyPr/>
        <a:lstStyle/>
        <a:p>
          <a:r>
            <a:rPr lang="en-IN"/>
            <a:t>RaptorRAG: Reranking and prompt optimization</a:t>
          </a:r>
          <a:endParaRPr lang="en-US"/>
        </a:p>
      </dgm:t>
    </dgm:pt>
    <dgm:pt modelId="{F8BFA8AC-D54C-4F24-A3D1-C4540ED14B9C}" type="parTrans" cxnId="{2756385B-ACB1-44B7-ACE1-FD95E0AC4380}">
      <dgm:prSet/>
      <dgm:spPr/>
      <dgm:t>
        <a:bodyPr/>
        <a:lstStyle/>
        <a:p>
          <a:endParaRPr lang="en-US"/>
        </a:p>
      </dgm:t>
    </dgm:pt>
    <dgm:pt modelId="{658EE5C7-8966-4492-9612-3F75EA881FCD}" type="sibTrans" cxnId="{2756385B-ACB1-44B7-ACE1-FD95E0AC4380}">
      <dgm:prSet/>
      <dgm:spPr/>
      <dgm:t>
        <a:bodyPr/>
        <a:lstStyle/>
        <a:p>
          <a:endParaRPr lang="en-US"/>
        </a:p>
      </dgm:t>
    </dgm:pt>
    <dgm:pt modelId="{F8B0DFC8-0DF4-4FB8-A2B2-355AF8094F24}" type="pres">
      <dgm:prSet presAssocID="{AF38819D-2F7F-46EB-9D0E-A9D8B3F452CB}" presName="diagram" presStyleCnt="0">
        <dgm:presLayoutVars>
          <dgm:dir/>
          <dgm:resizeHandles val="exact"/>
        </dgm:presLayoutVars>
      </dgm:prSet>
      <dgm:spPr/>
    </dgm:pt>
    <dgm:pt modelId="{A25A777F-91C6-44D9-8059-37E60D404F69}" type="pres">
      <dgm:prSet presAssocID="{1DB6CC29-9F67-4E5A-BBAA-305FA4AC4E69}" presName="node" presStyleLbl="node1" presStyleIdx="0" presStyleCnt="2">
        <dgm:presLayoutVars>
          <dgm:bulletEnabled val="1"/>
        </dgm:presLayoutVars>
      </dgm:prSet>
      <dgm:spPr/>
    </dgm:pt>
    <dgm:pt modelId="{A782ABD7-D244-43AE-B66C-747A9009DD1E}" type="pres">
      <dgm:prSet presAssocID="{19B2A1AA-987A-43B8-B54C-8CB25DFC0423}" presName="sibTrans" presStyleCnt="0"/>
      <dgm:spPr/>
    </dgm:pt>
    <dgm:pt modelId="{A482A9D6-1345-4775-93F2-F0857F1B86C7}" type="pres">
      <dgm:prSet presAssocID="{1566CB1E-A555-4FA4-A234-199CD85AE741}" presName="node" presStyleLbl="node1" presStyleIdx="1" presStyleCnt="2">
        <dgm:presLayoutVars>
          <dgm:bulletEnabled val="1"/>
        </dgm:presLayoutVars>
      </dgm:prSet>
      <dgm:spPr/>
    </dgm:pt>
  </dgm:ptLst>
  <dgm:cxnLst>
    <dgm:cxn modelId="{80882101-A936-43CD-B984-E3E500C6944E}" srcId="{1DB6CC29-9F67-4E5A-BBAA-305FA4AC4E69}" destId="{E9A3D9AF-2023-4841-A0D7-D9A33390922A}" srcOrd="2" destOrd="0" parTransId="{213012D5-1E3F-4807-8984-9FED0CEB82D7}" sibTransId="{FCB8238D-D6B6-45AB-9CE2-241F917D493B}"/>
    <dgm:cxn modelId="{3EBFA40A-7991-400A-B58F-9C7585376BE0}" srcId="{1566CB1E-A555-4FA4-A234-199CD85AE741}" destId="{89B96260-94E5-4640-A32F-EBB5C20BB3AC}" srcOrd="1" destOrd="0" parTransId="{B3798DC3-6158-4C3D-A64A-A4A958ACD2EC}" sibTransId="{C6D82E5D-9C30-4D12-8172-C2D56A87EB1D}"/>
    <dgm:cxn modelId="{ED84E52B-075C-4455-91C7-261B3B5311CE}" type="presOf" srcId="{E9A3D9AF-2023-4841-A0D7-D9A33390922A}" destId="{A25A777F-91C6-44D9-8059-37E60D404F69}" srcOrd="0" destOrd="3" presId="urn:microsoft.com/office/officeart/2005/8/layout/default"/>
    <dgm:cxn modelId="{1BC5403D-B7EB-4519-88B4-5D072063E649}" srcId="{1566CB1E-A555-4FA4-A234-199CD85AE741}" destId="{C836D770-EA6A-4002-AE7C-A204A70C69E3}" srcOrd="4" destOrd="0" parTransId="{AD93A082-48EB-4102-81F0-BDEB85931082}" sibTransId="{B3602702-39A0-4BF6-898F-ACA2FCBBA0CF}"/>
    <dgm:cxn modelId="{2756385B-ACB1-44B7-ACE1-FD95E0AC4380}" srcId="{1566CB1E-A555-4FA4-A234-199CD85AE741}" destId="{F2EF98F4-36D5-4110-A6AF-001438234BB0}" srcOrd="5" destOrd="0" parTransId="{F8BFA8AC-D54C-4F24-A3D1-C4540ED14B9C}" sibTransId="{658EE5C7-8966-4492-9612-3F75EA881FCD}"/>
    <dgm:cxn modelId="{7AB48167-75C8-48A2-8855-F87FF99126BF}" type="presOf" srcId="{C836D770-EA6A-4002-AE7C-A204A70C69E3}" destId="{A482A9D6-1345-4775-93F2-F0857F1B86C7}" srcOrd="0" destOrd="5" presId="urn:microsoft.com/office/officeart/2005/8/layout/default"/>
    <dgm:cxn modelId="{85B0E26A-2346-415B-B780-283FFFFC9170}" srcId="{1DB6CC29-9F67-4E5A-BBAA-305FA4AC4E69}" destId="{F16EDFA0-B491-4D96-A761-C3A8CA0B3765}" srcOrd="1" destOrd="0" parTransId="{1B3D01F9-A607-438D-A766-EC69AC8D04EF}" sibTransId="{060AFD9D-66E3-4D65-AF27-10F51B2BE21A}"/>
    <dgm:cxn modelId="{7D22566E-D218-4AA8-A15F-53958F95EE54}" type="presOf" srcId="{32C687F5-4474-40FD-94A8-933993C6A58A}" destId="{A25A777F-91C6-44D9-8059-37E60D404F69}" srcOrd="0" destOrd="1" presId="urn:microsoft.com/office/officeart/2005/8/layout/default"/>
    <dgm:cxn modelId="{D834E053-0254-499F-9A1B-6C3A94758124}" srcId="{1566CB1E-A555-4FA4-A234-199CD85AE741}" destId="{4BE17C01-705D-48DE-A82F-B23D710C3186}" srcOrd="0" destOrd="0" parTransId="{E1F78E30-A85E-4464-A190-E7CB33D5D829}" sibTransId="{85A8056B-1CC2-4225-80B1-3C7B000359B1}"/>
    <dgm:cxn modelId="{AC7EC28F-3758-4ED7-BD45-B92492C83851}" type="presOf" srcId="{4BE17C01-705D-48DE-A82F-B23D710C3186}" destId="{A482A9D6-1345-4775-93F2-F0857F1B86C7}" srcOrd="0" destOrd="1" presId="urn:microsoft.com/office/officeart/2005/8/layout/default"/>
    <dgm:cxn modelId="{A6BBC593-2CEC-43CF-BDDE-D8E82EA0E5A1}" type="presOf" srcId="{28FC750E-2E51-4591-AAD0-3D9C09355A73}" destId="{A482A9D6-1345-4775-93F2-F0857F1B86C7}" srcOrd="0" destOrd="4" presId="urn:microsoft.com/office/officeart/2005/8/layout/default"/>
    <dgm:cxn modelId="{D2B3FC9A-48D2-4EA9-A469-73957DC416FD}" srcId="{AF38819D-2F7F-46EB-9D0E-A9D8B3F452CB}" destId="{1566CB1E-A555-4FA4-A234-199CD85AE741}" srcOrd="1" destOrd="0" parTransId="{8FDFBA20-8F1E-4761-8C89-D03CEC644AAF}" sibTransId="{C7E2432E-ABAC-4379-8E4F-65B990B777F1}"/>
    <dgm:cxn modelId="{E265C0B3-FCDE-4EBE-AD8C-40D35E9A252A}" srcId="{1566CB1E-A555-4FA4-A234-199CD85AE741}" destId="{2016F684-A34A-4122-BE21-5D9C686DFFDA}" srcOrd="2" destOrd="0" parTransId="{56F646DB-A534-4DE1-A0B0-67512F84414D}" sibTransId="{0A27FB25-3793-4A28-92DF-FB2A4979EFE1}"/>
    <dgm:cxn modelId="{CD38C2C5-30C2-4CCB-894F-FE6FD36854C0}" srcId="{1566CB1E-A555-4FA4-A234-199CD85AE741}" destId="{28FC750E-2E51-4591-AAD0-3D9C09355A73}" srcOrd="3" destOrd="0" parTransId="{CFC75041-52E6-46A3-88BE-F7EF3A1208D8}" sibTransId="{A1CE4A41-F0FB-4749-97BA-25353016FBC9}"/>
    <dgm:cxn modelId="{CC04F5DA-3B80-44E4-B1FD-4D950ABBF798}" type="presOf" srcId="{AF38819D-2F7F-46EB-9D0E-A9D8B3F452CB}" destId="{F8B0DFC8-0DF4-4FB8-A2B2-355AF8094F24}" srcOrd="0" destOrd="0" presId="urn:microsoft.com/office/officeart/2005/8/layout/default"/>
    <dgm:cxn modelId="{5A45BDE1-D45E-41C2-9F98-C446F81C0A72}" type="presOf" srcId="{89B96260-94E5-4640-A32F-EBB5C20BB3AC}" destId="{A482A9D6-1345-4775-93F2-F0857F1B86C7}" srcOrd="0" destOrd="2" presId="urn:microsoft.com/office/officeart/2005/8/layout/default"/>
    <dgm:cxn modelId="{507F76E2-D033-402A-A0B6-092176C7A0EB}" type="presOf" srcId="{1DB6CC29-9F67-4E5A-BBAA-305FA4AC4E69}" destId="{A25A777F-91C6-44D9-8059-37E60D404F69}" srcOrd="0" destOrd="0" presId="urn:microsoft.com/office/officeart/2005/8/layout/default"/>
    <dgm:cxn modelId="{28C1CEE3-ED77-49EF-B798-81DE04B9FAEF}" srcId="{1DB6CC29-9F67-4E5A-BBAA-305FA4AC4E69}" destId="{32C687F5-4474-40FD-94A8-933993C6A58A}" srcOrd="0" destOrd="0" parTransId="{94F3DF95-998B-413D-AB76-C2A659D626CB}" sibTransId="{14B06AC7-9422-4CCA-B394-095998F8F329}"/>
    <dgm:cxn modelId="{09FE45E8-3335-494C-8C5B-7C71796E5E21}" type="presOf" srcId="{2016F684-A34A-4122-BE21-5D9C686DFFDA}" destId="{A482A9D6-1345-4775-93F2-F0857F1B86C7}" srcOrd="0" destOrd="3" presId="urn:microsoft.com/office/officeart/2005/8/layout/default"/>
    <dgm:cxn modelId="{85BF4EE8-E62E-4F07-9157-C3884CE3A0E5}" type="presOf" srcId="{1566CB1E-A555-4FA4-A234-199CD85AE741}" destId="{A482A9D6-1345-4775-93F2-F0857F1B86C7}" srcOrd="0" destOrd="0" presId="urn:microsoft.com/office/officeart/2005/8/layout/default"/>
    <dgm:cxn modelId="{49C357F9-A19D-4EC2-9E23-23A7D5017423}" type="presOf" srcId="{F16EDFA0-B491-4D96-A761-C3A8CA0B3765}" destId="{A25A777F-91C6-44D9-8059-37E60D404F69}" srcOrd="0" destOrd="2" presId="urn:microsoft.com/office/officeart/2005/8/layout/default"/>
    <dgm:cxn modelId="{AD3280FD-5164-4EAB-B091-6B3F5EB808E0}" type="presOf" srcId="{F2EF98F4-36D5-4110-A6AF-001438234BB0}" destId="{A482A9D6-1345-4775-93F2-F0857F1B86C7}" srcOrd="0" destOrd="6" presId="urn:microsoft.com/office/officeart/2005/8/layout/default"/>
    <dgm:cxn modelId="{7AAC93FF-893B-48C1-9276-0F01EAAD1CD4}" srcId="{AF38819D-2F7F-46EB-9D0E-A9D8B3F452CB}" destId="{1DB6CC29-9F67-4E5A-BBAA-305FA4AC4E69}" srcOrd="0" destOrd="0" parTransId="{9D292F98-15B2-45E2-A4F7-901988013F35}" sibTransId="{19B2A1AA-987A-43B8-B54C-8CB25DFC0423}"/>
    <dgm:cxn modelId="{97D05781-2BE0-4620-96B5-7E49EE8D6554}" type="presParOf" srcId="{F8B0DFC8-0DF4-4FB8-A2B2-355AF8094F24}" destId="{A25A777F-91C6-44D9-8059-37E60D404F69}" srcOrd="0" destOrd="0" presId="urn:microsoft.com/office/officeart/2005/8/layout/default"/>
    <dgm:cxn modelId="{6CD0960B-C06D-4613-A455-DB56E2D9AC4B}" type="presParOf" srcId="{F8B0DFC8-0DF4-4FB8-A2B2-355AF8094F24}" destId="{A782ABD7-D244-43AE-B66C-747A9009DD1E}" srcOrd="1" destOrd="0" presId="urn:microsoft.com/office/officeart/2005/8/layout/default"/>
    <dgm:cxn modelId="{C0D9584F-D387-4B45-B3F4-77412CEA4366}" type="presParOf" srcId="{F8B0DFC8-0DF4-4FB8-A2B2-355AF8094F24}" destId="{A482A9D6-1345-4775-93F2-F0857F1B86C7}"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E84917-FDA6-40A2-ABF4-761DFB32BA96}" type="doc">
      <dgm:prSet loTypeId="urn:microsoft.com/office/officeart/2008/layout/LinedList" loCatId="list" qsTypeId="urn:microsoft.com/office/officeart/2005/8/quickstyle/simple2" qsCatId="simple" csTypeId="urn:microsoft.com/office/officeart/2005/8/colors/accent3_2" csCatId="accent3"/>
      <dgm:spPr/>
      <dgm:t>
        <a:bodyPr/>
        <a:lstStyle/>
        <a:p>
          <a:endParaRPr lang="en-US"/>
        </a:p>
      </dgm:t>
    </dgm:pt>
    <dgm:pt modelId="{59030906-A5D1-4253-BB2D-2C15ED837C54}">
      <dgm:prSet/>
      <dgm:spPr/>
      <dgm:t>
        <a:bodyPr/>
        <a:lstStyle/>
        <a:p>
          <a:r>
            <a:rPr lang="en-IN" b="1"/>
            <a:t>Enhanced CSV Analysis: </a:t>
          </a:r>
          <a:endParaRPr lang="en-US"/>
        </a:p>
      </dgm:t>
    </dgm:pt>
    <dgm:pt modelId="{D5715583-9397-44E7-86DD-14A7AFBC812A}" type="parTrans" cxnId="{EFC06861-DC39-4F38-8F8F-78563D3EB039}">
      <dgm:prSet/>
      <dgm:spPr/>
      <dgm:t>
        <a:bodyPr/>
        <a:lstStyle/>
        <a:p>
          <a:endParaRPr lang="en-US"/>
        </a:p>
      </dgm:t>
    </dgm:pt>
    <dgm:pt modelId="{56BF78F6-A3E4-45D3-B993-01B31A31E70E}" type="sibTrans" cxnId="{EFC06861-DC39-4F38-8F8F-78563D3EB039}">
      <dgm:prSet/>
      <dgm:spPr/>
      <dgm:t>
        <a:bodyPr/>
        <a:lstStyle/>
        <a:p>
          <a:endParaRPr lang="en-US"/>
        </a:p>
      </dgm:t>
    </dgm:pt>
    <dgm:pt modelId="{04B51CCB-D7D2-4783-9E41-FAB0893948AA}">
      <dgm:prSet/>
      <dgm:spPr/>
      <dgm:t>
        <a:bodyPr/>
        <a:lstStyle/>
        <a:p>
          <a:r>
            <a:rPr lang="en-IN" b="1"/>
            <a:t>Statistical Summary: Mean, std dev, min, max for numeric columns</a:t>
          </a:r>
          <a:endParaRPr lang="en-US"/>
        </a:p>
      </dgm:t>
    </dgm:pt>
    <dgm:pt modelId="{6AB88A2F-7C23-4244-9ACB-5BACC5A52511}" type="parTrans" cxnId="{7E31C509-3409-4BE8-A7BB-DE03135EC87A}">
      <dgm:prSet/>
      <dgm:spPr/>
      <dgm:t>
        <a:bodyPr/>
        <a:lstStyle/>
        <a:p>
          <a:endParaRPr lang="en-US"/>
        </a:p>
      </dgm:t>
    </dgm:pt>
    <dgm:pt modelId="{45A5B210-FDEC-4FD6-B50E-3D8083209662}" type="sibTrans" cxnId="{7E31C509-3409-4BE8-A7BB-DE03135EC87A}">
      <dgm:prSet/>
      <dgm:spPr/>
      <dgm:t>
        <a:bodyPr/>
        <a:lstStyle/>
        <a:p>
          <a:endParaRPr lang="en-US"/>
        </a:p>
      </dgm:t>
    </dgm:pt>
    <dgm:pt modelId="{A13007C0-9D70-467A-A286-631A9DA974C9}">
      <dgm:prSet/>
      <dgm:spPr/>
      <dgm:t>
        <a:bodyPr/>
        <a:lstStyle/>
        <a:p>
          <a:r>
            <a:rPr lang="en-IN" b="1"/>
            <a:t>Null Value Detection: Counts missing values in each column</a:t>
          </a:r>
          <a:endParaRPr lang="en-US"/>
        </a:p>
      </dgm:t>
    </dgm:pt>
    <dgm:pt modelId="{E0E30E0B-4F95-4E93-84DB-8B22BFA2D94D}" type="parTrans" cxnId="{4DE78EC0-1DBA-4157-85DC-DF5A81E81B34}">
      <dgm:prSet/>
      <dgm:spPr/>
      <dgm:t>
        <a:bodyPr/>
        <a:lstStyle/>
        <a:p>
          <a:endParaRPr lang="en-US"/>
        </a:p>
      </dgm:t>
    </dgm:pt>
    <dgm:pt modelId="{A2CEDFBA-07DC-40F0-BB2E-1B18C49E7502}" type="sibTrans" cxnId="{4DE78EC0-1DBA-4157-85DC-DF5A81E81B34}">
      <dgm:prSet/>
      <dgm:spPr/>
      <dgm:t>
        <a:bodyPr/>
        <a:lstStyle/>
        <a:p>
          <a:endParaRPr lang="en-US"/>
        </a:p>
      </dgm:t>
    </dgm:pt>
    <dgm:pt modelId="{9B85604A-4822-4996-A9AC-59D8C46BA229}">
      <dgm:prSet/>
      <dgm:spPr/>
      <dgm:t>
        <a:bodyPr/>
        <a:lstStyle/>
        <a:p>
          <a:r>
            <a:rPr lang="en-IN" b="1"/>
            <a:t>Type Detection: Identifies numeric, categorical, and date columns</a:t>
          </a:r>
          <a:endParaRPr lang="en-US"/>
        </a:p>
      </dgm:t>
    </dgm:pt>
    <dgm:pt modelId="{BC803BCC-4DC3-4D15-941F-941924C016C5}" type="parTrans" cxnId="{8190701B-FC99-4DDA-9A55-84B91F452B5B}">
      <dgm:prSet/>
      <dgm:spPr/>
      <dgm:t>
        <a:bodyPr/>
        <a:lstStyle/>
        <a:p>
          <a:endParaRPr lang="en-US"/>
        </a:p>
      </dgm:t>
    </dgm:pt>
    <dgm:pt modelId="{8FFDA52C-AE0E-46FC-8607-1701574DFE43}" type="sibTrans" cxnId="{8190701B-FC99-4DDA-9A55-84B91F452B5B}">
      <dgm:prSet/>
      <dgm:spPr/>
      <dgm:t>
        <a:bodyPr/>
        <a:lstStyle/>
        <a:p>
          <a:endParaRPr lang="en-US"/>
        </a:p>
      </dgm:t>
    </dgm:pt>
    <dgm:pt modelId="{6E3D5BE7-D216-4E24-858C-D8248E146590}">
      <dgm:prSet/>
      <dgm:spPr/>
      <dgm:t>
        <a:bodyPr/>
        <a:lstStyle/>
        <a:p>
          <a:r>
            <a:rPr lang="en-IN" b="1"/>
            <a:t>Distribution Analysis: For categorical columns with few unique values</a:t>
          </a:r>
          <a:endParaRPr lang="en-US"/>
        </a:p>
      </dgm:t>
    </dgm:pt>
    <dgm:pt modelId="{859808D0-1BE3-41B2-8587-95446FCC6423}" type="parTrans" cxnId="{B3A96801-195B-447F-A129-6F05A707222F}">
      <dgm:prSet/>
      <dgm:spPr/>
      <dgm:t>
        <a:bodyPr/>
        <a:lstStyle/>
        <a:p>
          <a:endParaRPr lang="en-US"/>
        </a:p>
      </dgm:t>
    </dgm:pt>
    <dgm:pt modelId="{604C4582-B59C-4118-8211-58A67101AD33}" type="sibTrans" cxnId="{B3A96801-195B-447F-A129-6F05A707222F}">
      <dgm:prSet/>
      <dgm:spPr/>
      <dgm:t>
        <a:bodyPr/>
        <a:lstStyle/>
        <a:p>
          <a:endParaRPr lang="en-US"/>
        </a:p>
      </dgm:t>
    </dgm:pt>
    <dgm:pt modelId="{E5EC7661-1FB8-4F6C-928E-37ED1E2CD12D}">
      <dgm:prSet/>
      <dgm:spPr/>
      <dgm:t>
        <a:bodyPr/>
        <a:lstStyle/>
        <a:p>
          <a:r>
            <a:rPr lang="en-IN" b="1"/>
            <a:t>Correlation Analysis: For numeric column pairs with strong correlations</a:t>
          </a:r>
          <a:endParaRPr lang="en-US"/>
        </a:p>
      </dgm:t>
    </dgm:pt>
    <dgm:pt modelId="{44F5747B-6A32-4152-8EC8-F56436D1D89F}" type="parTrans" cxnId="{666A5E7E-3491-4D04-9EE3-E702059E3E0D}">
      <dgm:prSet/>
      <dgm:spPr/>
      <dgm:t>
        <a:bodyPr/>
        <a:lstStyle/>
        <a:p>
          <a:endParaRPr lang="en-US"/>
        </a:p>
      </dgm:t>
    </dgm:pt>
    <dgm:pt modelId="{1145E7F3-B51D-414F-A56F-3E845FE099E3}" type="sibTrans" cxnId="{666A5E7E-3491-4D04-9EE3-E702059E3E0D}">
      <dgm:prSet/>
      <dgm:spPr/>
      <dgm:t>
        <a:bodyPr/>
        <a:lstStyle/>
        <a:p>
          <a:endParaRPr lang="en-US"/>
        </a:p>
      </dgm:t>
    </dgm:pt>
    <dgm:pt modelId="{88260BD5-170D-4F9F-A511-B89BEE16E3CB}">
      <dgm:prSet/>
      <dgm:spPr/>
      <dgm:t>
        <a:bodyPr/>
        <a:lstStyle/>
        <a:p>
          <a:r>
            <a:rPr lang="en-IN" b="1"/>
            <a:t>Sample Records: Includes first few rows for reference</a:t>
          </a:r>
          <a:endParaRPr lang="en-US"/>
        </a:p>
      </dgm:t>
    </dgm:pt>
    <dgm:pt modelId="{C292BD1F-244E-47E9-80B4-35371ACBD7CC}" type="parTrans" cxnId="{769291A5-D2DC-4C06-B816-799EAEA57871}">
      <dgm:prSet/>
      <dgm:spPr/>
      <dgm:t>
        <a:bodyPr/>
        <a:lstStyle/>
        <a:p>
          <a:endParaRPr lang="en-US"/>
        </a:p>
      </dgm:t>
    </dgm:pt>
    <dgm:pt modelId="{18782062-70CD-4441-B9D5-7F284748CF0E}" type="sibTrans" cxnId="{769291A5-D2DC-4C06-B816-799EAEA57871}">
      <dgm:prSet/>
      <dgm:spPr/>
      <dgm:t>
        <a:bodyPr/>
        <a:lstStyle/>
        <a:p>
          <a:endParaRPr lang="en-US"/>
        </a:p>
      </dgm:t>
    </dgm:pt>
    <dgm:pt modelId="{1163911C-CB60-4205-8714-A8DAAF8CC1DF}" type="pres">
      <dgm:prSet presAssocID="{AEE84917-FDA6-40A2-ABF4-761DFB32BA96}" presName="vert0" presStyleCnt="0">
        <dgm:presLayoutVars>
          <dgm:dir/>
          <dgm:animOne val="branch"/>
          <dgm:animLvl val="lvl"/>
        </dgm:presLayoutVars>
      </dgm:prSet>
      <dgm:spPr/>
    </dgm:pt>
    <dgm:pt modelId="{D2F8A3E4-D3AE-46A7-8266-53C20F138C00}" type="pres">
      <dgm:prSet presAssocID="{59030906-A5D1-4253-BB2D-2C15ED837C54}" presName="thickLine" presStyleLbl="alignNode1" presStyleIdx="0" presStyleCnt="1"/>
      <dgm:spPr/>
    </dgm:pt>
    <dgm:pt modelId="{7A9B6795-AEED-4B67-8A77-459DBA5415C8}" type="pres">
      <dgm:prSet presAssocID="{59030906-A5D1-4253-BB2D-2C15ED837C54}" presName="horz1" presStyleCnt="0"/>
      <dgm:spPr/>
    </dgm:pt>
    <dgm:pt modelId="{42A66C49-2504-4910-8FFB-442EDCEB221A}" type="pres">
      <dgm:prSet presAssocID="{59030906-A5D1-4253-BB2D-2C15ED837C54}" presName="tx1" presStyleLbl="revTx" presStyleIdx="0" presStyleCnt="7"/>
      <dgm:spPr/>
    </dgm:pt>
    <dgm:pt modelId="{59304DB6-A55E-439A-89E9-AD87A35E9689}" type="pres">
      <dgm:prSet presAssocID="{59030906-A5D1-4253-BB2D-2C15ED837C54}" presName="vert1" presStyleCnt="0"/>
      <dgm:spPr/>
    </dgm:pt>
    <dgm:pt modelId="{85D621BA-6101-48B6-851D-189D1956F8B3}" type="pres">
      <dgm:prSet presAssocID="{04B51CCB-D7D2-4783-9E41-FAB0893948AA}" presName="vertSpace2a" presStyleCnt="0"/>
      <dgm:spPr/>
    </dgm:pt>
    <dgm:pt modelId="{999EA313-0B24-4981-A16B-10820235A2F2}" type="pres">
      <dgm:prSet presAssocID="{04B51CCB-D7D2-4783-9E41-FAB0893948AA}" presName="horz2" presStyleCnt="0"/>
      <dgm:spPr/>
    </dgm:pt>
    <dgm:pt modelId="{46455623-9CAD-481A-9C8B-F5519A7EE204}" type="pres">
      <dgm:prSet presAssocID="{04B51CCB-D7D2-4783-9E41-FAB0893948AA}" presName="horzSpace2" presStyleCnt="0"/>
      <dgm:spPr/>
    </dgm:pt>
    <dgm:pt modelId="{261E8C29-114C-40AB-B65F-441C92274A91}" type="pres">
      <dgm:prSet presAssocID="{04B51CCB-D7D2-4783-9E41-FAB0893948AA}" presName="tx2" presStyleLbl="revTx" presStyleIdx="1" presStyleCnt="7"/>
      <dgm:spPr/>
    </dgm:pt>
    <dgm:pt modelId="{53FF5766-4F0B-4BBE-9090-7A7DDD3A75B4}" type="pres">
      <dgm:prSet presAssocID="{04B51CCB-D7D2-4783-9E41-FAB0893948AA}" presName="vert2" presStyleCnt="0"/>
      <dgm:spPr/>
    </dgm:pt>
    <dgm:pt modelId="{EF4BC43A-D65F-4D64-9D3C-B6681F3B5F0F}" type="pres">
      <dgm:prSet presAssocID="{04B51CCB-D7D2-4783-9E41-FAB0893948AA}" presName="thinLine2b" presStyleLbl="callout" presStyleIdx="0" presStyleCnt="6"/>
      <dgm:spPr/>
    </dgm:pt>
    <dgm:pt modelId="{D85640E6-5E24-4AF9-8B0B-88FC5E02AF4F}" type="pres">
      <dgm:prSet presAssocID="{04B51CCB-D7D2-4783-9E41-FAB0893948AA}" presName="vertSpace2b" presStyleCnt="0"/>
      <dgm:spPr/>
    </dgm:pt>
    <dgm:pt modelId="{E48180F2-3A52-4CE2-BB71-94DF1D031CF1}" type="pres">
      <dgm:prSet presAssocID="{A13007C0-9D70-467A-A286-631A9DA974C9}" presName="horz2" presStyleCnt="0"/>
      <dgm:spPr/>
    </dgm:pt>
    <dgm:pt modelId="{8B66E712-5AC5-46F5-9015-AF9954F07E91}" type="pres">
      <dgm:prSet presAssocID="{A13007C0-9D70-467A-A286-631A9DA974C9}" presName="horzSpace2" presStyleCnt="0"/>
      <dgm:spPr/>
    </dgm:pt>
    <dgm:pt modelId="{E35AF6F4-403D-48D8-BC86-5B478891A7FC}" type="pres">
      <dgm:prSet presAssocID="{A13007C0-9D70-467A-A286-631A9DA974C9}" presName="tx2" presStyleLbl="revTx" presStyleIdx="2" presStyleCnt="7"/>
      <dgm:spPr/>
    </dgm:pt>
    <dgm:pt modelId="{17FDCFDB-C43D-423D-B8D1-D255920F2650}" type="pres">
      <dgm:prSet presAssocID="{A13007C0-9D70-467A-A286-631A9DA974C9}" presName="vert2" presStyleCnt="0"/>
      <dgm:spPr/>
    </dgm:pt>
    <dgm:pt modelId="{B09AE556-8A42-47E0-9CA5-8E9E4B586158}" type="pres">
      <dgm:prSet presAssocID="{A13007C0-9D70-467A-A286-631A9DA974C9}" presName="thinLine2b" presStyleLbl="callout" presStyleIdx="1" presStyleCnt="6"/>
      <dgm:spPr/>
    </dgm:pt>
    <dgm:pt modelId="{EEC75E6A-62DE-4284-9B36-F3A301DAB4C7}" type="pres">
      <dgm:prSet presAssocID="{A13007C0-9D70-467A-A286-631A9DA974C9}" presName="vertSpace2b" presStyleCnt="0"/>
      <dgm:spPr/>
    </dgm:pt>
    <dgm:pt modelId="{50221CDB-B52B-4185-9F83-AAA566E77097}" type="pres">
      <dgm:prSet presAssocID="{9B85604A-4822-4996-A9AC-59D8C46BA229}" presName="horz2" presStyleCnt="0"/>
      <dgm:spPr/>
    </dgm:pt>
    <dgm:pt modelId="{A3DBB32C-F8F6-49CB-9889-4605204FEEE9}" type="pres">
      <dgm:prSet presAssocID="{9B85604A-4822-4996-A9AC-59D8C46BA229}" presName="horzSpace2" presStyleCnt="0"/>
      <dgm:spPr/>
    </dgm:pt>
    <dgm:pt modelId="{D8C9B5FF-7D22-442D-A849-43A5CEE927C4}" type="pres">
      <dgm:prSet presAssocID="{9B85604A-4822-4996-A9AC-59D8C46BA229}" presName="tx2" presStyleLbl="revTx" presStyleIdx="3" presStyleCnt="7"/>
      <dgm:spPr/>
    </dgm:pt>
    <dgm:pt modelId="{B058BF3D-D576-41F9-B875-79924FB26DAD}" type="pres">
      <dgm:prSet presAssocID="{9B85604A-4822-4996-A9AC-59D8C46BA229}" presName="vert2" presStyleCnt="0"/>
      <dgm:spPr/>
    </dgm:pt>
    <dgm:pt modelId="{E5AD63A0-E011-4F82-8F34-B75AFA671E37}" type="pres">
      <dgm:prSet presAssocID="{9B85604A-4822-4996-A9AC-59D8C46BA229}" presName="thinLine2b" presStyleLbl="callout" presStyleIdx="2" presStyleCnt="6"/>
      <dgm:spPr/>
    </dgm:pt>
    <dgm:pt modelId="{4B1A19C2-F20B-418D-A2E9-21D4EB410A1D}" type="pres">
      <dgm:prSet presAssocID="{9B85604A-4822-4996-A9AC-59D8C46BA229}" presName="vertSpace2b" presStyleCnt="0"/>
      <dgm:spPr/>
    </dgm:pt>
    <dgm:pt modelId="{546F1586-9436-4159-98C4-680EC91A6784}" type="pres">
      <dgm:prSet presAssocID="{6E3D5BE7-D216-4E24-858C-D8248E146590}" presName="horz2" presStyleCnt="0"/>
      <dgm:spPr/>
    </dgm:pt>
    <dgm:pt modelId="{E21D2914-51D4-4860-9615-5433B16DED98}" type="pres">
      <dgm:prSet presAssocID="{6E3D5BE7-D216-4E24-858C-D8248E146590}" presName="horzSpace2" presStyleCnt="0"/>
      <dgm:spPr/>
    </dgm:pt>
    <dgm:pt modelId="{E036C948-6F5D-44D4-A9EC-2F48550FB2FC}" type="pres">
      <dgm:prSet presAssocID="{6E3D5BE7-D216-4E24-858C-D8248E146590}" presName="tx2" presStyleLbl="revTx" presStyleIdx="4" presStyleCnt="7"/>
      <dgm:spPr/>
    </dgm:pt>
    <dgm:pt modelId="{38F2F6F5-5F57-44F4-93C0-5728FC7D5B07}" type="pres">
      <dgm:prSet presAssocID="{6E3D5BE7-D216-4E24-858C-D8248E146590}" presName="vert2" presStyleCnt="0"/>
      <dgm:spPr/>
    </dgm:pt>
    <dgm:pt modelId="{B89F686A-F559-4BA0-B128-919F669F969B}" type="pres">
      <dgm:prSet presAssocID="{6E3D5BE7-D216-4E24-858C-D8248E146590}" presName="thinLine2b" presStyleLbl="callout" presStyleIdx="3" presStyleCnt="6"/>
      <dgm:spPr/>
    </dgm:pt>
    <dgm:pt modelId="{B2014FD5-66E0-4577-A5CF-F1B75153A274}" type="pres">
      <dgm:prSet presAssocID="{6E3D5BE7-D216-4E24-858C-D8248E146590}" presName="vertSpace2b" presStyleCnt="0"/>
      <dgm:spPr/>
    </dgm:pt>
    <dgm:pt modelId="{AAFF99DB-B16A-41DA-BC36-F11F56121939}" type="pres">
      <dgm:prSet presAssocID="{E5EC7661-1FB8-4F6C-928E-37ED1E2CD12D}" presName="horz2" presStyleCnt="0"/>
      <dgm:spPr/>
    </dgm:pt>
    <dgm:pt modelId="{891FBC0E-7225-495E-BAB0-54A516ED3F20}" type="pres">
      <dgm:prSet presAssocID="{E5EC7661-1FB8-4F6C-928E-37ED1E2CD12D}" presName="horzSpace2" presStyleCnt="0"/>
      <dgm:spPr/>
    </dgm:pt>
    <dgm:pt modelId="{C5D25013-FAE3-41DF-AD5C-D403372CCC86}" type="pres">
      <dgm:prSet presAssocID="{E5EC7661-1FB8-4F6C-928E-37ED1E2CD12D}" presName="tx2" presStyleLbl="revTx" presStyleIdx="5" presStyleCnt="7"/>
      <dgm:spPr/>
    </dgm:pt>
    <dgm:pt modelId="{7F9021B9-9904-46BB-B39C-9F78BCAD4BFF}" type="pres">
      <dgm:prSet presAssocID="{E5EC7661-1FB8-4F6C-928E-37ED1E2CD12D}" presName="vert2" presStyleCnt="0"/>
      <dgm:spPr/>
    </dgm:pt>
    <dgm:pt modelId="{785A9B0E-2E85-4B55-B9A4-0CA1A406BFE2}" type="pres">
      <dgm:prSet presAssocID="{E5EC7661-1FB8-4F6C-928E-37ED1E2CD12D}" presName="thinLine2b" presStyleLbl="callout" presStyleIdx="4" presStyleCnt="6"/>
      <dgm:spPr/>
    </dgm:pt>
    <dgm:pt modelId="{A1959DB8-82EA-4261-82E2-1AC577286286}" type="pres">
      <dgm:prSet presAssocID="{E5EC7661-1FB8-4F6C-928E-37ED1E2CD12D}" presName="vertSpace2b" presStyleCnt="0"/>
      <dgm:spPr/>
    </dgm:pt>
    <dgm:pt modelId="{FBB4BB70-C38E-443F-B0B8-5F6B23E7A11F}" type="pres">
      <dgm:prSet presAssocID="{88260BD5-170D-4F9F-A511-B89BEE16E3CB}" presName="horz2" presStyleCnt="0"/>
      <dgm:spPr/>
    </dgm:pt>
    <dgm:pt modelId="{B3E6AA5C-CC6B-4328-95F3-3AD41241C241}" type="pres">
      <dgm:prSet presAssocID="{88260BD5-170D-4F9F-A511-B89BEE16E3CB}" presName="horzSpace2" presStyleCnt="0"/>
      <dgm:spPr/>
    </dgm:pt>
    <dgm:pt modelId="{82912EE8-3AA3-4CCA-8E4C-F0394359E49C}" type="pres">
      <dgm:prSet presAssocID="{88260BD5-170D-4F9F-A511-B89BEE16E3CB}" presName="tx2" presStyleLbl="revTx" presStyleIdx="6" presStyleCnt="7"/>
      <dgm:spPr/>
    </dgm:pt>
    <dgm:pt modelId="{797C052F-DFBC-4903-86E2-21203908073E}" type="pres">
      <dgm:prSet presAssocID="{88260BD5-170D-4F9F-A511-B89BEE16E3CB}" presName="vert2" presStyleCnt="0"/>
      <dgm:spPr/>
    </dgm:pt>
    <dgm:pt modelId="{290A2E1D-4533-4D6A-ADDF-7167F98BBADF}" type="pres">
      <dgm:prSet presAssocID="{88260BD5-170D-4F9F-A511-B89BEE16E3CB}" presName="thinLine2b" presStyleLbl="callout" presStyleIdx="5" presStyleCnt="6"/>
      <dgm:spPr/>
    </dgm:pt>
    <dgm:pt modelId="{4DCE6491-4F26-4788-86C6-67CBF65B9F57}" type="pres">
      <dgm:prSet presAssocID="{88260BD5-170D-4F9F-A511-B89BEE16E3CB}" presName="vertSpace2b" presStyleCnt="0"/>
      <dgm:spPr/>
    </dgm:pt>
  </dgm:ptLst>
  <dgm:cxnLst>
    <dgm:cxn modelId="{B3A96801-195B-447F-A129-6F05A707222F}" srcId="{59030906-A5D1-4253-BB2D-2C15ED837C54}" destId="{6E3D5BE7-D216-4E24-858C-D8248E146590}" srcOrd="3" destOrd="0" parTransId="{859808D0-1BE3-41B2-8587-95446FCC6423}" sibTransId="{604C4582-B59C-4118-8211-58A67101AD33}"/>
    <dgm:cxn modelId="{7E31C509-3409-4BE8-A7BB-DE03135EC87A}" srcId="{59030906-A5D1-4253-BB2D-2C15ED837C54}" destId="{04B51CCB-D7D2-4783-9E41-FAB0893948AA}" srcOrd="0" destOrd="0" parTransId="{6AB88A2F-7C23-4244-9ACB-5BACC5A52511}" sibTransId="{45A5B210-FDEC-4FD6-B50E-3D8083209662}"/>
    <dgm:cxn modelId="{B551890D-8F87-461C-95F1-4A5A3103200A}" type="presOf" srcId="{88260BD5-170D-4F9F-A511-B89BEE16E3CB}" destId="{82912EE8-3AA3-4CCA-8E4C-F0394359E49C}" srcOrd="0" destOrd="0" presId="urn:microsoft.com/office/officeart/2008/layout/LinedList"/>
    <dgm:cxn modelId="{8190701B-FC99-4DDA-9A55-84B91F452B5B}" srcId="{59030906-A5D1-4253-BB2D-2C15ED837C54}" destId="{9B85604A-4822-4996-A9AC-59D8C46BA229}" srcOrd="2" destOrd="0" parTransId="{BC803BCC-4DC3-4D15-941F-941924C016C5}" sibTransId="{8FFDA52C-AE0E-46FC-8607-1701574DFE43}"/>
    <dgm:cxn modelId="{EFC06861-DC39-4F38-8F8F-78563D3EB039}" srcId="{AEE84917-FDA6-40A2-ABF4-761DFB32BA96}" destId="{59030906-A5D1-4253-BB2D-2C15ED837C54}" srcOrd="0" destOrd="0" parTransId="{D5715583-9397-44E7-86DD-14A7AFBC812A}" sibTransId="{56BF78F6-A3E4-45D3-B993-01B31A31E70E}"/>
    <dgm:cxn modelId="{F0435849-F920-49AB-9C33-3C75F75B41F9}" type="presOf" srcId="{04B51CCB-D7D2-4783-9E41-FAB0893948AA}" destId="{261E8C29-114C-40AB-B65F-441C92274A91}" srcOrd="0" destOrd="0" presId="urn:microsoft.com/office/officeart/2008/layout/LinedList"/>
    <dgm:cxn modelId="{666A5E7E-3491-4D04-9EE3-E702059E3E0D}" srcId="{59030906-A5D1-4253-BB2D-2C15ED837C54}" destId="{E5EC7661-1FB8-4F6C-928E-37ED1E2CD12D}" srcOrd="4" destOrd="0" parTransId="{44F5747B-6A32-4152-8EC8-F56436D1D89F}" sibTransId="{1145E7F3-B51D-414F-A56F-3E845FE099E3}"/>
    <dgm:cxn modelId="{60B47BA0-CEAA-4E51-9AE4-DFA643326A13}" type="presOf" srcId="{E5EC7661-1FB8-4F6C-928E-37ED1E2CD12D}" destId="{C5D25013-FAE3-41DF-AD5C-D403372CCC86}" srcOrd="0" destOrd="0" presId="urn:microsoft.com/office/officeart/2008/layout/LinedList"/>
    <dgm:cxn modelId="{769291A5-D2DC-4C06-B816-799EAEA57871}" srcId="{59030906-A5D1-4253-BB2D-2C15ED837C54}" destId="{88260BD5-170D-4F9F-A511-B89BEE16E3CB}" srcOrd="5" destOrd="0" parTransId="{C292BD1F-244E-47E9-80B4-35371ACBD7CC}" sibTransId="{18782062-70CD-4441-B9D5-7F284748CF0E}"/>
    <dgm:cxn modelId="{856E46BD-7AE9-400E-B9FF-26DA39C9106F}" type="presOf" srcId="{59030906-A5D1-4253-BB2D-2C15ED837C54}" destId="{42A66C49-2504-4910-8FFB-442EDCEB221A}" srcOrd="0" destOrd="0" presId="urn:microsoft.com/office/officeart/2008/layout/LinedList"/>
    <dgm:cxn modelId="{4DE78EC0-1DBA-4157-85DC-DF5A81E81B34}" srcId="{59030906-A5D1-4253-BB2D-2C15ED837C54}" destId="{A13007C0-9D70-467A-A286-631A9DA974C9}" srcOrd="1" destOrd="0" parTransId="{E0E30E0B-4F95-4E93-84DB-8B22BFA2D94D}" sibTransId="{A2CEDFBA-07DC-40F0-BB2E-1B18C49E7502}"/>
    <dgm:cxn modelId="{41EB88C1-AE22-4A2A-91E4-0DA1BBE4B1AC}" type="presOf" srcId="{9B85604A-4822-4996-A9AC-59D8C46BA229}" destId="{D8C9B5FF-7D22-442D-A849-43A5CEE927C4}" srcOrd="0" destOrd="0" presId="urn:microsoft.com/office/officeart/2008/layout/LinedList"/>
    <dgm:cxn modelId="{6C31FAC1-6B40-4EC7-B044-D09A5C04B47D}" type="presOf" srcId="{6E3D5BE7-D216-4E24-858C-D8248E146590}" destId="{E036C948-6F5D-44D4-A9EC-2F48550FB2FC}" srcOrd="0" destOrd="0" presId="urn:microsoft.com/office/officeart/2008/layout/LinedList"/>
    <dgm:cxn modelId="{508FE9D6-768A-48F1-B64B-5B1034F21165}" type="presOf" srcId="{A13007C0-9D70-467A-A286-631A9DA974C9}" destId="{E35AF6F4-403D-48D8-BC86-5B478891A7FC}" srcOrd="0" destOrd="0" presId="urn:microsoft.com/office/officeart/2008/layout/LinedList"/>
    <dgm:cxn modelId="{B2565FEC-59B2-4D7B-8A50-5FCC48EC3D10}" type="presOf" srcId="{AEE84917-FDA6-40A2-ABF4-761DFB32BA96}" destId="{1163911C-CB60-4205-8714-A8DAAF8CC1DF}" srcOrd="0" destOrd="0" presId="urn:microsoft.com/office/officeart/2008/layout/LinedList"/>
    <dgm:cxn modelId="{337C878C-21CD-4CF5-8AE2-E3DD9F894806}" type="presParOf" srcId="{1163911C-CB60-4205-8714-A8DAAF8CC1DF}" destId="{D2F8A3E4-D3AE-46A7-8266-53C20F138C00}" srcOrd="0" destOrd="0" presId="urn:microsoft.com/office/officeart/2008/layout/LinedList"/>
    <dgm:cxn modelId="{99CE137F-3F28-489D-AD31-0979CC92CACB}" type="presParOf" srcId="{1163911C-CB60-4205-8714-A8DAAF8CC1DF}" destId="{7A9B6795-AEED-4B67-8A77-459DBA5415C8}" srcOrd="1" destOrd="0" presId="urn:microsoft.com/office/officeart/2008/layout/LinedList"/>
    <dgm:cxn modelId="{3579F41E-77EB-4403-977E-98D14E1EE03F}" type="presParOf" srcId="{7A9B6795-AEED-4B67-8A77-459DBA5415C8}" destId="{42A66C49-2504-4910-8FFB-442EDCEB221A}" srcOrd="0" destOrd="0" presId="urn:microsoft.com/office/officeart/2008/layout/LinedList"/>
    <dgm:cxn modelId="{A1EDAA2B-7FE4-4461-98C8-AAD50A37F9E6}" type="presParOf" srcId="{7A9B6795-AEED-4B67-8A77-459DBA5415C8}" destId="{59304DB6-A55E-439A-89E9-AD87A35E9689}" srcOrd="1" destOrd="0" presId="urn:microsoft.com/office/officeart/2008/layout/LinedList"/>
    <dgm:cxn modelId="{46555292-BC6C-4F11-8B4C-D292C79FEF58}" type="presParOf" srcId="{59304DB6-A55E-439A-89E9-AD87A35E9689}" destId="{85D621BA-6101-48B6-851D-189D1956F8B3}" srcOrd="0" destOrd="0" presId="urn:microsoft.com/office/officeart/2008/layout/LinedList"/>
    <dgm:cxn modelId="{274F1112-E975-4A68-B91C-BFFB4A689FC8}" type="presParOf" srcId="{59304DB6-A55E-439A-89E9-AD87A35E9689}" destId="{999EA313-0B24-4981-A16B-10820235A2F2}" srcOrd="1" destOrd="0" presId="urn:microsoft.com/office/officeart/2008/layout/LinedList"/>
    <dgm:cxn modelId="{7CA40C7E-3159-4979-8606-0B564861962A}" type="presParOf" srcId="{999EA313-0B24-4981-A16B-10820235A2F2}" destId="{46455623-9CAD-481A-9C8B-F5519A7EE204}" srcOrd="0" destOrd="0" presId="urn:microsoft.com/office/officeart/2008/layout/LinedList"/>
    <dgm:cxn modelId="{A9574E7A-9604-4CA3-9B9B-59C25DF07080}" type="presParOf" srcId="{999EA313-0B24-4981-A16B-10820235A2F2}" destId="{261E8C29-114C-40AB-B65F-441C92274A91}" srcOrd="1" destOrd="0" presId="urn:microsoft.com/office/officeart/2008/layout/LinedList"/>
    <dgm:cxn modelId="{740C70A0-9754-41AB-BB2C-7EBDCE7A5E71}" type="presParOf" srcId="{999EA313-0B24-4981-A16B-10820235A2F2}" destId="{53FF5766-4F0B-4BBE-9090-7A7DDD3A75B4}" srcOrd="2" destOrd="0" presId="urn:microsoft.com/office/officeart/2008/layout/LinedList"/>
    <dgm:cxn modelId="{5DD0D504-7C5B-4F83-B997-FF600120CFDE}" type="presParOf" srcId="{59304DB6-A55E-439A-89E9-AD87A35E9689}" destId="{EF4BC43A-D65F-4D64-9D3C-B6681F3B5F0F}" srcOrd="2" destOrd="0" presId="urn:microsoft.com/office/officeart/2008/layout/LinedList"/>
    <dgm:cxn modelId="{044B3BBA-1AB0-4F92-BC22-061211B1D4DE}" type="presParOf" srcId="{59304DB6-A55E-439A-89E9-AD87A35E9689}" destId="{D85640E6-5E24-4AF9-8B0B-88FC5E02AF4F}" srcOrd="3" destOrd="0" presId="urn:microsoft.com/office/officeart/2008/layout/LinedList"/>
    <dgm:cxn modelId="{2E7BCB71-EB93-4EA1-AB7D-46AC71953FAA}" type="presParOf" srcId="{59304DB6-A55E-439A-89E9-AD87A35E9689}" destId="{E48180F2-3A52-4CE2-BB71-94DF1D031CF1}" srcOrd="4" destOrd="0" presId="urn:microsoft.com/office/officeart/2008/layout/LinedList"/>
    <dgm:cxn modelId="{05F6420E-3760-4D11-B50D-B5AF32F8F062}" type="presParOf" srcId="{E48180F2-3A52-4CE2-BB71-94DF1D031CF1}" destId="{8B66E712-5AC5-46F5-9015-AF9954F07E91}" srcOrd="0" destOrd="0" presId="urn:microsoft.com/office/officeart/2008/layout/LinedList"/>
    <dgm:cxn modelId="{FD9838C4-310E-4F7B-BFD9-3A6EEB9C8B52}" type="presParOf" srcId="{E48180F2-3A52-4CE2-BB71-94DF1D031CF1}" destId="{E35AF6F4-403D-48D8-BC86-5B478891A7FC}" srcOrd="1" destOrd="0" presId="urn:microsoft.com/office/officeart/2008/layout/LinedList"/>
    <dgm:cxn modelId="{42B2E80A-2453-46C5-802E-1902511A0A6B}" type="presParOf" srcId="{E48180F2-3A52-4CE2-BB71-94DF1D031CF1}" destId="{17FDCFDB-C43D-423D-B8D1-D255920F2650}" srcOrd="2" destOrd="0" presId="urn:microsoft.com/office/officeart/2008/layout/LinedList"/>
    <dgm:cxn modelId="{80C49260-F50C-4C93-A2CE-5D006CFB7E4F}" type="presParOf" srcId="{59304DB6-A55E-439A-89E9-AD87A35E9689}" destId="{B09AE556-8A42-47E0-9CA5-8E9E4B586158}" srcOrd="5" destOrd="0" presId="urn:microsoft.com/office/officeart/2008/layout/LinedList"/>
    <dgm:cxn modelId="{3965F581-DD59-4DE8-B795-E08549A86FAA}" type="presParOf" srcId="{59304DB6-A55E-439A-89E9-AD87A35E9689}" destId="{EEC75E6A-62DE-4284-9B36-F3A301DAB4C7}" srcOrd="6" destOrd="0" presId="urn:microsoft.com/office/officeart/2008/layout/LinedList"/>
    <dgm:cxn modelId="{9C103CF8-61BA-4DCD-B67C-1EA0F250E20D}" type="presParOf" srcId="{59304DB6-A55E-439A-89E9-AD87A35E9689}" destId="{50221CDB-B52B-4185-9F83-AAA566E77097}" srcOrd="7" destOrd="0" presId="urn:microsoft.com/office/officeart/2008/layout/LinedList"/>
    <dgm:cxn modelId="{3697466D-BA92-4FFC-82D7-7F8F13A90DAB}" type="presParOf" srcId="{50221CDB-B52B-4185-9F83-AAA566E77097}" destId="{A3DBB32C-F8F6-49CB-9889-4605204FEEE9}" srcOrd="0" destOrd="0" presId="urn:microsoft.com/office/officeart/2008/layout/LinedList"/>
    <dgm:cxn modelId="{1D758D26-9FEA-4A32-9749-B7198C09DD12}" type="presParOf" srcId="{50221CDB-B52B-4185-9F83-AAA566E77097}" destId="{D8C9B5FF-7D22-442D-A849-43A5CEE927C4}" srcOrd="1" destOrd="0" presId="urn:microsoft.com/office/officeart/2008/layout/LinedList"/>
    <dgm:cxn modelId="{C6FC7C42-21D1-4F38-AF7E-500257E04594}" type="presParOf" srcId="{50221CDB-B52B-4185-9F83-AAA566E77097}" destId="{B058BF3D-D576-41F9-B875-79924FB26DAD}" srcOrd="2" destOrd="0" presId="urn:microsoft.com/office/officeart/2008/layout/LinedList"/>
    <dgm:cxn modelId="{6A9FBF1B-5660-4ECD-BDA1-1FC1539C1B02}" type="presParOf" srcId="{59304DB6-A55E-439A-89E9-AD87A35E9689}" destId="{E5AD63A0-E011-4F82-8F34-B75AFA671E37}" srcOrd="8" destOrd="0" presId="urn:microsoft.com/office/officeart/2008/layout/LinedList"/>
    <dgm:cxn modelId="{3AA5F61D-E94E-4697-90B4-18A306C63D11}" type="presParOf" srcId="{59304DB6-A55E-439A-89E9-AD87A35E9689}" destId="{4B1A19C2-F20B-418D-A2E9-21D4EB410A1D}" srcOrd="9" destOrd="0" presId="urn:microsoft.com/office/officeart/2008/layout/LinedList"/>
    <dgm:cxn modelId="{FC7FB333-5A7F-4C7E-81A9-A8BD3573F35C}" type="presParOf" srcId="{59304DB6-A55E-439A-89E9-AD87A35E9689}" destId="{546F1586-9436-4159-98C4-680EC91A6784}" srcOrd="10" destOrd="0" presId="urn:microsoft.com/office/officeart/2008/layout/LinedList"/>
    <dgm:cxn modelId="{76BCFFCD-9636-461E-8BB8-7CDFA2D9D57B}" type="presParOf" srcId="{546F1586-9436-4159-98C4-680EC91A6784}" destId="{E21D2914-51D4-4860-9615-5433B16DED98}" srcOrd="0" destOrd="0" presId="urn:microsoft.com/office/officeart/2008/layout/LinedList"/>
    <dgm:cxn modelId="{2A3F3B29-C709-400C-BC48-51718ED00A07}" type="presParOf" srcId="{546F1586-9436-4159-98C4-680EC91A6784}" destId="{E036C948-6F5D-44D4-A9EC-2F48550FB2FC}" srcOrd="1" destOrd="0" presId="urn:microsoft.com/office/officeart/2008/layout/LinedList"/>
    <dgm:cxn modelId="{D10E4537-78C5-4F81-9B23-FB0445E7095B}" type="presParOf" srcId="{546F1586-9436-4159-98C4-680EC91A6784}" destId="{38F2F6F5-5F57-44F4-93C0-5728FC7D5B07}" srcOrd="2" destOrd="0" presId="urn:microsoft.com/office/officeart/2008/layout/LinedList"/>
    <dgm:cxn modelId="{747E2BC0-8E0E-40D1-B3CB-E68FD8F891F9}" type="presParOf" srcId="{59304DB6-A55E-439A-89E9-AD87A35E9689}" destId="{B89F686A-F559-4BA0-B128-919F669F969B}" srcOrd="11" destOrd="0" presId="urn:microsoft.com/office/officeart/2008/layout/LinedList"/>
    <dgm:cxn modelId="{BAD23234-9A90-448C-96A9-299F20E3C384}" type="presParOf" srcId="{59304DB6-A55E-439A-89E9-AD87A35E9689}" destId="{B2014FD5-66E0-4577-A5CF-F1B75153A274}" srcOrd="12" destOrd="0" presId="urn:microsoft.com/office/officeart/2008/layout/LinedList"/>
    <dgm:cxn modelId="{C15B549F-8B9F-4A10-BD94-B0146E37BFDF}" type="presParOf" srcId="{59304DB6-A55E-439A-89E9-AD87A35E9689}" destId="{AAFF99DB-B16A-41DA-BC36-F11F56121939}" srcOrd="13" destOrd="0" presId="urn:microsoft.com/office/officeart/2008/layout/LinedList"/>
    <dgm:cxn modelId="{B9429D62-8212-4E0C-BA7F-FD3736DD5BB6}" type="presParOf" srcId="{AAFF99DB-B16A-41DA-BC36-F11F56121939}" destId="{891FBC0E-7225-495E-BAB0-54A516ED3F20}" srcOrd="0" destOrd="0" presId="urn:microsoft.com/office/officeart/2008/layout/LinedList"/>
    <dgm:cxn modelId="{AE5709B2-1369-4673-937C-455BDB9220BC}" type="presParOf" srcId="{AAFF99DB-B16A-41DA-BC36-F11F56121939}" destId="{C5D25013-FAE3-41DF-AD5C-D403372CCC86}" srcOrd="1" destOrd="0" presId="urn:microsoft.com/office/officeart/2008/layout/LinedList"/>
    <dgm:cxn modelId="{858F8DCD-FE76-41DC-B7F9-93F99E544740}" type="presParOf" srcId="{AAFF99DB-B16A-41DA-BC36-F11F56121939}" destId="{7F9021B9-9904-46BB-B39C-9F78BCAD4BFF}" srcOrd="2" destOrd="0" presId="urn:microsoft.com/office/officeart/2008/layout/LinedList"/>
    <dgm:cxn modelId="{5B348A4B-52A1-47E2-A54E-DDFFAF7A5085}" type="presParOf" srcId="{59304DB6-A55E-439A-89E9-AD87A35E9689}" destId="{785A9B0E-2E85-4B55-B9A4-0CA1A406BFE2}" srcOrd="14" destOrd="0" presId="urn:microsoft.com/office/officeart/2008/layout/LinedList"/>
    <dgm:cxn modelId="{6BD746C9-B8A3-43C1-A54B-E12A6A6DA75C}" type="presParOf" srcId="{59304DB6-A55E-439A-89E9-AD87A35E9689}" destId="{A1959DB8-82EA-4261-82E2-1AC577286286}" srcOrd="15" destOrd="0" presId="urn:microsoft.com/office/officeart/2008/layout/LinedList"/>
    <dgm:cxn modelId="{90FF6D69-F20A-4193-BD56-6A9043627C67}" type="presParOf" srcId="{59304DB6-A55E-439A-89E9-AD87A35E9689}" destId="{FBB4BB70-C38E-443F-B0B8-5F6B23E7A11F}" srcOrd="16" destOrd="0" presId="urn:microsoft.com/office/officeart/2008/layout/LinedList"/>
    <dgm:cxn modelId="{59B30CCB-6831-43FF-A99C-62CBB25BD21E}" type="presParOf" srcId="{FBB4BB70-C38E-443F-B0B8-5F6B23E7A11F}" destId="{B3E6AA5C-CC6B-4328-95F3-3AD41241C241}" srcOrd="0" destOrd="0" presId="urn:microsoft.com/office/officeart/2008/layout/LinedList"/>
    <dgm:cxn modelId="{64347998-826B-4F29-988A-E50051A4D365}" type="presParOf" srcId="{FBB4BB70-C38E-443F-B0B8-5F6B23E7A11F}" destId="{82912EE8-3AA3-4CCA-8E4C-F0394359E49C}" srcOrd="1" destOrd="0" presId="urn:microsoft.com/office/officeart/2008/layout/LinedList"/>
    <dgm:cxn modelId="{B0DE3D00-CFA6-46A7-A73A-2EF3B3E3C5A7}" type="presParOf" srcId="{FBB4BB70-C38E-443F-B0B8-5F6B23E7A11F}" destId="{797C052F-DFBC-4903-86E2-21203908073E}" srcOrd="2" destOrd="0" presId="urn:microsoft.com/office/officeart/2008/layout/LinedList"/>
    <dgm:cxn modelId="{9E9816B1-BB3A-4576-A95F-F08C2FB317D8}" type="presParOf" srcId="{59304DB6-A55E-439A-89E9-AD87A35E9689}" destId="{290A2E1D-4533-4D6A-ADDF-7167F98BBADF}" srcOrd="17" destOrd="0" presId="urn:microsoft.com/office/officeart/2008/layout/LinedList"/>
    <dgm:cxn modelId="{9270DDFD-9121-4E30-A3AE-507EE3B56189}" type="presParOf" srcId="{59304DB6-A55E-439A-89E9-AD87A35E9689}" destId="{4DCE6491-4F26-4788-86C6-67CBF65B9F57}" srcOrd="18"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D5C81-2392-492B-BC07-A310BE163726}">
      <dsp:nvSpPr>
        <dsp:cNvPr id="0" name=""/>
        <dsp:cNvSpPr/>
      </dsp:nvSpPr>
      <dsp:spPr>
        <a:xfrm>
          <a:off x="0" y="278351"/>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A6B007B-CFBC-4B80-820D-865D456B48AA}">
      <dsp:nvSpPr>
        <dsp:cNvPr id="0" name=""/>
        <dsp:cNvSpPr/>
      </dsp:nvSpPr>
      <dsp:spPr>
        <a:xfrm>
          <a:off x="547388" y="42191"/>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System Architecture Overview</a:t>
          </a:r>
          <a:endParaRPr lang="en-US" sz="1600" kern="1200"/>
        </a:p>
      </dsp:txBody>
      <dsp:txXfrm>
        <a:off x="570445" y="65248"/>
        <a:ext cx="7617326" cy="426206"/>
      </dsp:txXfrm>
    </dsp:sp>
    <dsp:sp modelId="{A034A74A-C06F-4574-9435-BD378C96E24B}">
      <dsp:nvSpPr>
        <dsp:cNvPr id="0" name=""/>
        <dsp:cNvSpPr/>
      </dsp:nvSpPr>
      <dsp:spPr>
        <a:xfrm>
          <a:off x="0" y="1004111"/>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50DE50E-C406-45E1-886B-BB31CD45BFB7}">
      <dsp:nvSpPr>
        <dsp:cNvPr id="0" name=""/>
        <dsp:cNvSpPr/>
      </dsp:nvSpPr>
      <dsp:spPr>
        <a:xfrm>
          <a:off x="547388" y="767951"/>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Document Processing Pipeline</a:t>
          </a:r>
          <a:endParaRPr lang="en-US" sz="1600" kern="1200"/>
        </a:p>
      </dsp:txBody>
      <dsp:txXfrm>
        <a:off x="570445" y="791008"/>
        <a:ext cx="7617326" cy="426206"/>
      </dsp:txXfrm>
    </dsp:sp>
    <dsp:sp modelId="{FAA9E96E-7030-4828-AF77-D6DD9F8F1E6F}">
      <dsp:nvSpPr>
        <dsp:cNvPr id="0" name=""/>
        <dsp:cNvSpPr/>
      </dsp:nvSpPr>
      <dsp:spPr>
        <a:xfrm>
          <a:off x="0" y="1729871"/>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D57682D-0200-4E56-8998-32C7B02742F0}">
      <dsp:nvSpPr>
        <dsp:cNvPr id="0" name=""/>
        <dsp:cNvSpPr/>
      </dsp:nvSpPr>
      <dsp:spPr>
        <a:xfrm>
          <a:off x="547388" y="1493711"/>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Embedding Models Comparison</a:t>
          </a:r>
          <a:endParaRPr lang="en-US" sz="1600" kern="1200"/>
        </a:p>
      </dsp:txBody>
      <dsp:txXfrm>
        <a:off x="570445" y="1516768"/>
        <a:ext cx="7617326" cy="426206"/>
      </dsp:txXfrm>
    </dsp:sp>
    <dsp:sp modelId="{B96CB6B3-4651-4839-9C82-C4F9F0D86590}">
      <dsp:nvSpPr>
        <dsp:cNvPr id="0" name=""/>
        <dsp:cNvSpPr/>
      </dsp:nvSpPr>
      <dsp:spPr>
        <a:xfrm>
          <a:off x="0" y="2455631"/>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6D28D11-3FA4-4C3A-9C98-CC44B5429D7B}">
      <dsp:nvSpPr>
        <dsp:cNvPr id="0" name=""/>
        <dsp:cNvSpPr/>
      </dsp:nvSpPr>
      <dsp:spPr>
        <a:xfrm>
          <a:off x="547388" y="2219471"/>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Vector Storage Solutions</a:t>
          </a:r>
          <a:endParaRPr lang="en-US" sz="1600" kern="1200"/>
        </a:p>
      </dsp:txBody>
      <dsp:txXfrm>
        <a:off x="570445" y="2242528"/>
        <a:ext cx="7617326" cy="426206"/>
      </dsp:txXfrm>
    </dsp:sp>
    <dsp:sp modelId="{198BD4D4-8840-4A94-A9AD-0C2487372A01}">
      <dsp:nvSpPr>
        <dsp:cNvPr id="0" name=""/>
        <dsp:cNvSpPr/>
      </dsp:nvSpPr>
      <dsp:spPr>
        <a:xfrm>
          <a:off x="0" y="3181391"/>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A8903158-FFDA-4CF9-A272-3945E6F5085A}">
      <dsp:nvSpPr>
        <dsp:cNvPr id="0" name=""/>
        <dsp:cNvSpPr/>
      </dsp:nvSpPr>
      <dsp:spPr>
        <a:xfrm>
          <a:off x="547388" y="2945231"/>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Vector Search Algorithms</a:t>
          </a:r>
          <a:endParaRPr lang="en-US" sz="1600" kern="1200"/>
        </a:p>
      </dsp:txBody>
      <dsp:txXfrm>
        <a:off x="570445" y="2968288"/>
        <a:ext cx="7617326" cy="426206"/>
      </dsp:txXfrm>
    </dsp:sp>
    <dsp:sp modelId="{2DDD9E8B-B20B-4D71-9BDB-815174AB993C}">
      <dsp:nvSpPr>
        <dsp:cNvPr id="0" name=""/>
        <dsp:cNvSpPr/>
      </dsp:nvSpPr>
      <dsp:spPr>
        <a:xfrm>
          <a:off x="0" y="3907152"/>
          <a:ext cx="10947772" cy="4032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A6E940B4-8228-4D98-8183-445F6D8B092B}">
      <dsp:nvSpPr>
        <dsp:cNvPr id="0" name=""/>
        <dsp:cNvSpPr/>
      </dsp:nvSpPr>
      <dsp:spPr>
        <a:xfrm>
          <a:off x="547388" y="3670992"/>
          <a:ext cx="7663440" cy="4723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89660" tIns="0" rIns="289660" bIns="0" numCol="1" spcCol="1270" anchor="ctr" anchorCtr="0">
          <a:noAutofit/>
        </a:bodyPr>
        <a:lstStyle/>
        <a:p>
          <a:pPr marL="0" lvl="0" indent="0" algn="l" defTabSz="711200">
            <a:lnSpc>
              <a:spcPct val="90000"/>
            </a:lnSpc>
            <a:spcBef>
              <a:spcPct val="0"/>
            </a:spcBef>
            <a:spcAft>
              <a:spcPct val="35000"/>
            </a:spcAft>
            <a:buNone/>
          </a:pPr>
          <a:r>
            <a:rPr lang="en-IN" sz="1600" kern="1200"/>
            <a:t>RAG Implementation Types</a:t>
          </a:r>
          <a:endParaRPr lang="en-US" sz="1600" kern="1200"/>
        </a:p>
      </dsp:txBody>
      <dsp:txXfrm>
        <a:off x="570445" y="3694049"/>
        <a:ext cx="7617326" cy="4262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BB16E3-D5A0-4776-9980-48C115B6F87F}">
      <dsp:nvSpPr>
        <dsp:cNvPr id="0" name=""/>
        <dsp:cNvSpPr/>
      </dsp:nvSpPr>
      <dsp:spPr>
        <a:xfrm>
          <a:off x="0" y="309053"/>
          <a:ext cx="10947772" cy="585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1" kern="1200"/>
            <a:t>Document Loading</a:t>
          </a:r>
          <a:r>
            <a:rPr lang="en-IN" sz="2500" kern="1200"/>
            <a:t>: Extracts text and metadata from various file formats </a:t>
          </a:r>
          <a:endParaRPr lang="en-US" sz="2500" kern="1200"/>
        </a:p>
      </dsp:txBody>
      <dsp:txXfrm>
        <a:off x="28557" y="337610"/>
        <a:ext cx="10890658" cy="527886"/>
      </dsp:txXfrm>
    </dsp:sp>
    <dsp:sp modelId="{7B15F13C-188A-4DF8-96E1-24C436C39722}">
      <dsp:nvSpPr>
        <dsp:cNvPr id="0" name=""/>
        <dsp:cNvSpPr/>
      </dsp:nvSpPr>
      <dsp:spPr>
        <a:xfrm>
          <a:off x="0" y="894053"/>
          <a:ext cx="10947772" cy="6598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IN" sz="2000" kern="1200"/>
            <a:t>Implementation: DocumentLoader class with specialized file processors</a:t>
          </a:r>
          <a:endParaRPr lang="en-US" sz="2000" kern="1200"/>
        </a:p>
        <a:p>
          <a:pPr marL="228600" lvl="1" indent="-228600" algn="l" defTabSz="889000">
            <a:lnSpc>
              <a:spcPct val="90000"/>
            </a:lnSpc>
            <a:spcBef>
              <a:spcPct val="0"/>
            </a:spcBef>
            <a:spcAft>
              <a:spcPct val="20000"/>
            </a:spcAft>
            <a:buChar char="•"/>
          </a:pPr>
          <a:r>
            <a:rPr lang="en-IN" sz="2000" kern="1200"/>
            <a:t>Support for PDF, DOCX, PPTX, CSV, TXT, MD, JSON</a:t>
          </a:r>
          <a:endParaRPr lang="en-US" sz="2000" kern="1200"/>
        </a:p>
      </dsp:txBody>
      <dsp:txXfrm>
        <a:off x="0" y="894053"/>
        <a:ext cx="10947772" cy="659812"/>
      </dsp:txXfrm>
    </dsp:sp>
    <dsp:sp modelId="{6D346186-EF2A-4F36-82C5-D3287ED98514}">
      <dsp:nvSpPr>
        <dsp:cNvPr id="0" name=""/>
        <dsp:cNvSpPr/>
      </dsp:nvSpPr>
      <dsp:spPr>
        <a:xfrm>
          <a:off x="0" y="1553865"/>
          <a:ext cx="10947772" cy="585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1" kern="1200"/>
            <a:t>Document Chunking</a:t>
          </a:r>
          <a:r>
            <a:rPr lang="en-IN" sz="2500" kern="1200"/>
            <a:t>: Breaks documents into manageable pieces </a:t>
          </a:r>
          <a:endParaRPr lang="en-US" sz="2500" kern="1200"/>
        </a:p>
      </dsp:txBody>
      <dsp:txXfrm>
        <a:off x="28557" y="1582422"/>
        <a:ext cx="10890658" cy="527886"/>
      </dsp:txXfrm>
    </dsp:sp>
    <dsp:sp modelId="{097DC85E-FABB-4B53-BA55-F0A138511F4D}">
      <dsp:nvSpPr>
        <dsp:cNvPr id="0" name=""/>
        <dsp:cNvSpPr/>
      </dsp:nvSpPr>
      <dsp:spPr>
        <a:xfrm>
          <a:off x="0" y="2138865"/>
          <a:ext cx="10947772" cy="6598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IN" sz="2000" kern="1200"/>
            <a:t>Implementation: ChunkerFactory with multiple chunking strategies</a:t>
          </a:r>
          <a:endParaRPr lang="en-US" sz="2000" kern="1200"/>
        </a:p>
        <a:p>
          <a:pPr marL="228600" lvl="1" indent="-228600" algn="l" defTabSz="889000">
            <a:lnSpc>
              <a:spcPct val="90000"/>
            </a:lnSpc>
            <a:spcBef>
              <a:spcPct val="0"/>
            </a:spcBef>
            <a:spcAft>
              <a:spcPct val="20000"/>
            </a:spcAft>
            <a:buChar char="•"/>
          </a:pPr>
          <a:r>
            <a:rPr lang="en-IN" sz="2000" kern="1200"/>
            <a:t>Configurable chunk size and overlap parameters</a:t>
          </a:r>
          <a:endParaRPr lang="en-US" sz="2000" kern="1200"/>
        </a:p>
      </dsp:txBody>
      <dsp:txXfrm>
        <a:off x="0" y="2138865"/>
        <a:ext cx="10947772" cy="659812"/>
      </dsp:txXfrm>
    </dsp:sp>
    <dsp:sp modelId="{1B769DDD-0FF3-45B4-800F-6F6E0380D86C}">
      <dsp:nvSpPr>
        <dsp:cNvPr id="0" name=""/>
        <dsp:cNvSpPr/>
      </dsp:nvSpPr>
      <dsp:spPr>
        <a:xfrm>
          <a:off x="0" y="2798678"/>
          <a:ext cx="10947772" cy="5850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IN" sz="2500" b="1" kern="1200"/>
            <a:t>Embedding Generation</a:t>
          </a:r>
          <a:r>
            <a:rPr lang="en-IN" sz="2500" kern="1200"/>
            <a:t>: Creates vector representations of text </a:t>
          </a:r>
          <a:endParaRPr lang="en-US" sz="2500" kern="1200"/>
        </a:p>
      </dsp:txBody>
      <dsp:txXfrm>
        <a:off x="28557" y="2827235"/>
        <a:ext cx="10890658" cy="527886"/>
      </dsp:txXfrm>
    </dsp:sp>
    <dsp:sp modelId="{1F57F525-4625-4E9A-9FFE-E5B906ED0F8F}">
      <dsp:nvSpPr>
        <dsp:cNvPr id="0" name=""/>
        <dsp:cNvSpPr/>
      </dsp:nvSpPr>
      <dsp:spPr>
        <a:xfrm>
          <a:off x="0" y="3383678"/>
          <a:ext cx="10947772" cy="6598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IN" sz="2000" kern="1200"/>
            <a:t>Implementation: EnhancedEmbeddingGenerator with model selection</a:t>
          </a:r>
          <a:endParaRPr lang="en-US" sz="2000" kern="1200"/>
        </a:p>
        <a:p>
          <a:pPr marL="228600" lvl="1" indent="-228600" algn="l" defTabSz="889000">
            <a:lnSpc>
              <a:spcPct val="90000"/>
            </a:lnSpc>
            <a:spcBef>
              <a:spcPct val="0"/>
            </a:spcBef>
            <a:spcAft>
              <a:spcPct val="20000"/>
            </a:spcAft>
            <a:buChar char="•"/>
          </a:pPr>
          <a:r>
            <a:rPr lang="en-IN" sz="2000" kern="1200"/>
            <a:t>Batch processing and caching for optimization</a:t>
          </a:r>
          <a:endParaRPr lang="en-US" sz="2000" kern="1200"/>
        </a:p>
      </dsp:txBody>
      <dsp:txXfrm>
        <a:off x="0" y="3383678"/>
        <a:ext cx="10947772" cy="6598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01FA2C-920D-44A7-AC8E-D0D82DBBDC51}">
      <dsp:nvSpPr>
        <dsp:cNvPr id="0" name=""/>
        <dsp:cNvSpPr/>
      </dsp:nvSpPr>
      <dsp:spPr>
        <a:xfrm>
          <a:off x="0" y="32809"/>
          <a:ext cx="10947772" cy="678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IN" sz="2900" b="1" kern="1200"/>
            <a:t>Vector Storage</a:t>
          </a:r>
          <a:r>
            <a:rPr lang="en-IN" sz="2900" kern="1200"/>
            <a:t>: Persists embeddings for future retrieval </a:t>
          </a:r>
          <a:endParaRPr lang="en-US" sz="2900" kern="1200"/>
        </a:p>
      </dsp:txBody>
      <dsp:txXfrm>
        <a:off x="33127" y="65936"/>
        <a:ext cx="10881518" cy="612346"/>
      </dsp:txXfrm>
    </dsp:sp>
    <dsp:sp modelId="{6967A4E2-69F2-4423-918D-FD548E394F10}">
      <dsp:nvSpPr>
        <dsp:cNvPr id="0" name=""/>
        <dsp:cNvSpPr/>
      </dsp:nvSpPr>
      <dsp:spPr>
        <a:xfrm>
          <a:off x="0" y="711409"/>
          <a:ext cx="10947772" cy="750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IN" sz="2300" kern="1200"/>
            <a:t>Implementation: VectorStoreFactory with multiple DB options</a:t>
          </a:r>
          <a:endParaRPr lang="en-US" sz="2300" kern="1200"/>
        </a:p>
        <a:p>
          <a:pPr marL="228600" lvl="1" indent="-228600" algn="l" defTabSz="1022350">
            <a:lnSpc>
              <a:spcPct val="90000"/>
            </a:lnSpc>
            <a:spcBef>
              <a:spcPct val="0"/>
            </a:spcBef>
            <a:spcAft>
              <a:spcPct val="20000"/>
            </a:spcAft>
            <a:buChar char="•"/>
          </a:pPr>
          <a:r>
            <a:rPr lang="en-IN" sz="2300" kern="1200"/>
            <a:t>Abstraction layer for consistent interface across DB types</a:t>
          </a:r>
          <a:endParaRPr lang="en-US" sz="2300" kern="1200"/>
        </a:p>
      </dsp:txBody>
      <dsp:txXfrm>
        <a:off x="0" y="711409"/>
        <a:ext cx="10947772" cy="750375"/>
      </dsp:txXfrm>
    </dsp:sp>
    <dsp:sp modelId="{2214D712-2426-4C23-8389-496C94C9661D}">
      <dsp:nvSpPr>
        <dsp:cNvPr id="0" name=""/>
        <dsp:cNvSpPr/>
      </dsp:nvSpPr>
      <dsp:spPr>
        <a:xfrm>
          <a:off x="0" y="1461784"/>
          <a:ext cx="10947772" cy="678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IN" sz="2900" b="1" kern="1200"/>
            <a:t>Vector Search</a:t>
          </a:r>
          <a:r>
            <a:rPr lang="en-IN" sz="2900" kern="1200"/>
            <a:t>: Efficiently finds similar vectors </a:t>
          </a:r>
          <a:endParaRPr lang="en-US" sz="2900" kern="1200"/>
        </a:p>
      </dsp:txBody>
      <dsp:txXfrm>
        <a:off x="33127" y="1494911"/>
        <a:ext cx="10881518" cy="612346"/>
      </dsp:txXfrm>
    </dsp:sp>
    <dsp:sp modelId="{7FD60D59-C32D-48CE-B1A0-9019BB847A45}">
      <dsp:nvSpPr>
        <dsp:cNvPr id="0" name=""/>
        <dsp:cNvSpPr/>
      </dsp:nvSpPr>
      <dsp:spPr>
        <a:xfrm>
          <a:off x="0" y="2140384"/>
          <a:ext cx="10947772" cy="750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IN" sz="2300" kern="1200"/>
            <a:t>Implementation: SearchFactory with multiple algorithm options</a:t>
          </a:r>
          <a:endParaRPr lang="en-US" sz="2300" kern="1200"/>
        </a:p>
        <a:p>
          <a:pPr marL="228600" lvl="1" indent="-228600" algn="l" defTabSz="1022350">
            <a:lnSpc>
              <a:spcPct val="90000"/>
            </a:lnSpc>
            <a:spcBef>
              <a:spcPct val="0"/>
            </a:spcBef>
            <a:spcAft>
              <a:spcPct val="20000"/>
            </a:spcAft>
            <a:buChar char="•"/>
          </a:pPr>
          <a:r>
            <a:rPr lang="en-IN" sz="2300" kern="1200"/>
            <a:t>Configurable parameters for accuracy vs. speed tradeoffs</a:t>
          </a:r>
          <a:endParaRPr lang="en-US" sz="2300" kern="1200"/>
        </a:p>
      </dsp:txBody>
      <dsp:txXfrm>
        <a:off x="0" y="2140384"/>
        <a:ext cx="10947772" cy="750375"/>
      </dsp:txXfrm>
    </dsp:sp>
    <dsp:sp modelId="{65B6C0A9-999E-4BE5-9397-5882F6F06272}">
      <dsp:nvSpPr>
        <dsp:cNvPr id="0" name=""/>
        <dsp:cNvSpPr/>
      </dsp:nvSpPr>
      <dsp:spPr>
        <a:xfrm>
          <a:off x="0" y="2890759"/>
          <a:ext cx="10947772" cy="678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IN" sz="2900" b="1" kern="1200"/>
            <a:t>RAG Pipeline</a:t>
          </a:r>
          <a:r>
            <a:rPr lang="en-IN" sz="2900" kern="1200"/>
            <a:t>: Orchestrates the overall process </a:t>
          </a:r>
          <a:endParaRPr lang="en-US" sz="2900" kern="1200"/>
        </a:p>
      </dsp:txBody>
      <dsp:txXfrm>
        <a:off x="33127" y="2923886"/>
        <a:ext cx="10881518" cy="612346"/>
      </dsp:txXfrm>
    </dsp:sp>
    <dsp:sp modelId="{0DC99DC1-5DB8-4F3C-B052-2B5CE30C02A7}">
      <dsp:nvSpPr>
        <dsp:cNvPr id="0" name=""/>
        <dsp:cNvSpPr/>
      </dsp:nvSpPr>
      <dsp:spPr>
        <a:xfrm>
          <a:off x="0" y="3569359"/>
          <a:ext cx="10947772" cy="750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IN" sz="2300" kern="1200"/>
            <a:t>Implementation: RAGPipeline class with configurable parameters</a:t>
          </a:r>
          <a:endParaRPr lang="en-US" sz="2300" kern="1200"/>
        </a:p>
        <a:p>
          <a:pPr marL="228600" lvl="1" indent="-228600" algn="l" defTabSz="1022350">
            <a:lnSpc>
              <a:spcPct val="90000"/>
            </a:lnSpc>
            <a:spcBef>
              <a:spcPct val="0"/>
            </a:spcBef>
            <a:spcAft>
              <a:spcPct val="20000"/>
            </a:spcAft>
            <a:buChar char="•"/>
          </a:pPr>
          <a:r>
            <a:rPr lang="en-IN" sz="2300" kern="1200"/>
            <a:t>Manages initialization, document processing, and response generation</a:t>
          </a:r>
          <a:endParaRPr lang="en-US" sz="2300" kern="1200"/>
        </a:p>
      </dsp:txBody>
      <dsp:txXfrm>
        <a:off x="0" y="3569359"/>
        <a:ext cx="10947772" cy="7503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F9C69-40D1-4730-951F-76BA79F8B814}">
      <dsp:nvSpPr>
        <dsp:cNvPr id="0" name=""/>
        <dsp:cNvSpPr/>
      </dsp:nvSpPr>
      <dsp:spPr>
        <a:xfrm>
          <a:off x="6444445" y="2802282"/>
          <a:ext cx="388223" cy="1252021"/>
        </a:xfrm>
        <a:custGeom>
          <a:avLst/>
          <a:gdLst/>
          <a:ahLst/>
          <a:cxnLst/>
          <a:rect l="0" t="0" r="0" b="0"/>
          <a:pathLst>
            <a:path>
              <a:moveTo>
                <a:pt x="0" y="0"/>
              </a:moveTo>
              <a:lnTo>
                <a:pt x="194111" y="0"/>
              </a:lnTo>
              <a:lnTo>
                <a:pt x="194111" y="1252021"/>
              </a:lnTo>
              <a:lnTo>
                <a:pt x="388223" y="125202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C4BD18-CD72-427B-8A52-EA9255DA7E2F}">
      <dsp:nvSpPr>
        <dsp:cNvPr id="0" name=""/>
        <dsp:cNvSpPr/>
      </dsp:nvSpPr>
      <dsp:spPr>
        <a:xfrm>
          <a:off x="6444445" y="2802282"/>
          <a:ext cx="388223" cy="417340"/>
        </a:xfrm>
        <a:custGeom>
          <a:avLst/>
          <a:gdLst/>
          <a:ahLst/>
          <a:cxnLst/>
          <a:rect l="0" t="0" r="0" b="0"/>
          <a:pathLst>
            <a:path>
              <a:moveTo>
                <a:pt x="0" y="0"/>
              </a:moveTo>
              <a:lnTo>
                <a:pt x="194111" y="0"/>
              </a:lnTo>
              <a:lnTo>
                <a:pt x="194111" y="417340"/>
              </a:lnTo>
              <a:lnTo>
                <a:pt x="388223" y="41734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C7FC13-0597-467D-995D-A3B99B411323}">
      <dsp:nvSpPr>
        <dsp:cNvPr id="0" name=""/>
        <dsp:cNvSpPr/>
      </dsp:nvSpPr>
      <dsp:spPr>
        <a:xfrm>
          <a:off x="6444445" y="2384942"/>
          <a:ext cx="388223" cy="417340"/>
        </a:xfrm>
        <a:custGeom>
          <a:avLst/>
          <a:gdLst/>
          <a:ahLst/>
          <a:cxnLst/>
          <a:rect l="0" t="0" r="0" b="0"/>
          <a:pathLst>
            <a:path>
              <a:moveTo>
                <a:pt x="0" y="417340"/>
              </a:moveTo>
              <a:lnTo>
                <a:pt x="194111" y="417340"/>
              </a:lnTo>
              <a:lnTo>
                <a:pt x="194111" y="0"/>
              </a:lnTo>
              <a:lnTo>
                <a:pt x="388223"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EFEB4B-64A0-4665-8B27-B4E463234FF8}">
      <dsp:nvSpPr>
        <dsp:cNvPr id="0" name=""/>
        <dsp:cNvSpPr/>
      </dsp:nvSpPr>
      <dsp:spPr>
        <a:xfrm>
          <a:off x="6444445" y="1550261"/>
          <a:ext cx="388223" cy="1252021"/>
        </a:xfrm>
        <a:custGeom>
          <a:avLst/>
          <a:gdLst/>
          <a:ahLst/>
          <a:cxnLst/>
          <a:rect l="0" t="0" r="0" b="0"/>
          <a:pathLst>
            <a:path>
              <a:moveTo>
                <a:pt x="0" y="1252021"/>
              </a:moveTo>
              <a:lnTo>
                <a:pt x="194111" y="1252021"/>
              </a:lnTo>
              <a:lnTo>
                <a:pt x="194111" y="0"/>
              </a:lnTo>
              <a:lnTo>
                <a:pt x="388223"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89D892-5B20-4797-88C3-2ECB07033A8B}">
      <dsp:nvSpPr>
        <dsp:cNvPr id="0" name=""/>
        <dsp:cNvSpPr/>
      </dsp:nvSpPr>
      <dsp:spPr>
        <a:xfrm>
          <a:off x="4115103" y="1550261"/>
          <a:ext cx="388223" cy="1252021"/>
        </a:xfrm>
        <a:custGeom>
          <a:avLst/>
          <a:gdLst/>
          <a:ahLst/>
          <a:cxnLst/>
          <a:rect l="0" t="0" r="0" b="0"/>
          <a:pathLst>
            <a:path>
              <a:moveTo>
                <a:pt x="0" y="0"/>
              </a:moveTo>
              <a:lnTo>
                <a:pt x="194111" y="0"/>
              </a:lnTo>
              <a:lnTo>
                <a:pt x="194111" y="1252021"/>
              </a:lnTo>
              <a:lnTo>
                <a:pt x="388223" y="125202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FF86CE7-EE73-4913-B4F3-2DEE5141A622}">
      <dsp:nvSpPr>
        <dsp:cNvPr id="0" name=""/>
        <dsp:cNvSpPr/>
      </dsp:nvSpPr>
      <dsp:spPr>
        <a:xfrm>
          <a:off x="4115103" y="1550261"/>
          <a:ext cx="388223" cy="417340"/>
        </a:xfrm>
        <a:custGeom>
          <a:avLst/>
          <a:gdLst/>
          <a:ahLst/>
          <a:cxnLst/>
          <a:rect l="0" t="0" r="0" b="0"/>
          <a:pathLst>
            <a:path>
              <a:moveTo>
                <a:pt x="0" y="0"/>
              </a:moveTo>
              <a:lnTo>
                <a:pt x="194111" y="0"/>
              </a:lnTo>
              <a:lnTo>
                <a:pt x="194111" y="417340"/>
              </a:lnTo>
              <a:lnTo>
                <a:pt x="388223" y="41734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D7F392-6DF8-447C-AFDE-4F6268415661}">
      <dsp:nvSpPr>
        <dsp:cNvPr id="0" name=""/>
        <dsp:cNvSpPr/>
      </dsp:nvSpPr>
      <dsp:spPr>
        <a:xfrm>
          <a:off x="4115103" y="1132921"/>
          <a:ext cx="388223" cy="417340"/>
        </a:xfrm>
        <a:custGeom>
          <a:avLst/>
          <a:gdLst/>
          <a:ahLst/>
          <a:cxnLst/>
          <a:rect l="0" t="0" r="0" b="0"/>
          <a:pathLst>
            <a:path>
              <a:moveTo>
                <a:pt x="0" y="417340"/>
              </a:moveTo>
              <a:lnTo>
                <a:pt x="194111" y="417340"/>
              </a:lnTo>
              <a:lnTo>
                <a:pt x="194111" y="0"/>
              </a:lnTo>
              <a:lnTo>
                <a:pt x="38822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4236E4-0746-4F67-87BC-28C8D18188C6}">
      <dsp:nvSpPr>
        <dsp:cNvPr id="0" name=""/>
        <dsp:cNvSpPr/>
      </dsp:nvSpPr>
      <dsp:spPr>
        <a:xfrm>
          <a:off x="4115103" y="298240"/>
          <a:ext cx="388223" cy="1252021"/>
        </a:xfrm>
        <a:custGeom>
          <a:avLst/>
          <a:gdLst/>
          <a:ahLst/>
          <a:cxnLst/>
          <a:rect l="0" t="0" r="0" b="0"/>
          <a:pathLst>
            <a:path>
              <a:moveTo>
                <a:pt x="0" y="1252021"/>
              </a:moveTo>
              <a:lnTo>
                <a:pt x="194111" y="1252021"/>
              </a:lnTo>
              <a:lnTo>
                <a:pt x="194111" y="0"/>
              </a:lnTo>
              <a:lnTo>
                <a:pt x="38822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9EED25A-11E5-44B9-92D4-2019E1C69A92}">
      <dsp:nvSpPr>
        <dsp:cNvPr id="0" name=""/>
        <dsp:cNvSpPr/>
      </dsp:nvSpPr>
      <dsp:spPr>
        <a:xfrm>
          <a:off x="2173985" y="1254240"/>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Embedding Models </a:t>
          </a:r>
          <a:endParaRPr lang="en-US" sz="1000" kern="1200"/>
        </a:p>
      </dsp:txBody>
      <dsp:txXfrm>
        <a:off x="2173985" y="1254240"/>
        <a:ext cx="1941118" cy="592040"/>
      </dsp:txXfrm>
    </dsp:sp>
    <dsp:sp modelId="{C039E658-9709-4673-9ADB-7F7209CD1A58}">
      <dsp:nvSpPr>
        <dsp:cNvPr id="0" name=""/>
        <dsp:cNvSpPr/>
      </dsp:nvSpPr>
      <dsp:spPr>
        <a:xfrm>
          <a:off x="4503326" y="2219"/>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Purpose: Convert text into dense vector representations</a:t>
          </a:r>
          <a:endParaRPr lang="en-US" sz="1000" kern="1200"/>
        </a:p>
      </dsp:txBody>
      <dsp:txXfrm>
        <a:off x="4503326" y="2219"/>
        <a:ext cx="1941118" cy="592040"/>
      </dsp:txXfrm>
    </dsp:sp>
    <dsp:sp modelId="{F9753306-63F0-4860-998A-44D0C2C9B79F}">
      <dsp:nvSpPr>
        <dsp:cNvPr id="0" name=""/>
        <dsp:cNvSpPr/>
      </dsp:nvSpPr>
      <dsp:spPr>
        <a:xfrm>
          <a:off x="4503326" y="836900"/>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Implementation: EnhancedEmbeddingGenerator with model selection</a:t>
          </a:r>
          <a:endParaRPr lang="en-US" sz="1000" kern="1200"/>
        </a:p>
      </dsp:txBody>
      <dsp:txXfrm>
        <a:off x="4503326" y="836900"/>
        <a:ext cx="1941118" cy="592040"/>
      </dsp:txXfrm>
    </dsp:sp>
    <dsp:sp modelId="{634B3815-ECFF-42CD-A137-9C9447E92CAA}">
      <dsp:nvSpPr>
        <dsp:cNvPr id="0" name=""/>
        <dsp:cNvSpPr/>
      </dsp:nvSpPr>
      <dsp:spPr>
        <a:xfrm>
          <a:off x="4503326" y="1671581"/>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Base Class: BaseEmbeddingGenerator</a:t>
          </a:r>
          <a:endParaRPr lang="en-US" sz="1000" kern="1200"/>
        </a:p>
      </dsp:txBody>
      <dsp:txXfrm>
        <a:off x="4503326" y="1671581"/>
        <a:ext cx="1941118" cy="592040"/>
      </dsp:txXfrm>
    </dsp:sp>
    <dsp:sp modelId="{E3E0B59D-FC9C-4FB8-93BC-E8BEC1B31B2D}">
      <dsp:nvSpPr>
        <dsp:cNvPr id="0" name=""/>
        <dsp:cNvSpPr/>
      </dsp:nvSpPr>
      <dsp:spPr>
        <a:xfrm>
          <a:off x="4503326" y="2506262"/>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Model-Specific Classes: </a:t>
          </a:r>
          <a:endParaRPr lang="en-US" sz="1000" kern="1200"/>
        </a:p>
      </dsp:txBody>
      <dsp:txXfrm>
        <a:off x="4503326" y="2506262"/>
        <a:ext cx="1941118" cy="592040"/>
      </dsp:txXfrm>
    </dsp:sp>
    <dsp:sp modelId="{EEC39609-EB1E-453E-8EEC-A65C6FF954C1}">
      <dsp:nvSpPr>
        <dsp:cNvPr id="0" name=""/>
        <dsp:cNvSpPr/>
      </dsp:nvSpPr>
      <dsp:spPr>
        <a:xfrm>
          <a:off x="6832668" y="1254240"/>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E5EmbeddingGenerator</a:t>
          </a:r>
          <a:endParaRPr lang="en-US" sz="1000" kern="1200"/>
        </a:p>
      </dsp:txBody>
      <dsp:txXfrm>
        <a:off x="6832668" y="1254240"/>
        <a:ext cx="1941118" cy="592040"/>
      </dsp:txXfrm>
    </dsp:sp>
    <dsp:sp modelId="{969286A3-2212-4C69-B2EC-2892D0738A12}">
      <dsp:nvSpPr>
        <dsp:cNvPr id="0" name=""/>
        <dsp:cNvSpPr/>
      </dsp:nvSpPr>
      <dsp:spPr>
        <a:xfrm>
          <a:off x="6832668" y="2088921"/>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BGEEmbeddingGenerator</a:t>
          </a:r>
          <a:endParaRPr lang="en-US" sz="1000" kern="1200"/>
        </a:p>
      </dsp:txBody>
      <dsp:txXfrm>
        <a:off x="6832668" y="2088921"/>
        <a:ext cx="1941118" cy="592040"/>
      </dsp:txXfrm>
    </dsp:sp>
    <dsp:sp modelId="{A5E0E567-2145-4551-B683-EC35457C632D}">
      <dsp:nvSpPr>
        <dsp:cNvPr id="0" name=""/>
        <dsp:cNvSpPr/>
      </dsp:nvSpPr>
      <dsp:spPr>
        <a:xfrm>
          <a:off x="6832668" y="2923602"/>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GTEEmbeddingGenerator</a:t>
          </a:r>
          <a:endParaRPr lang="en-US" sz="1000" kern="1200"/>
        </a:p>
      </dsp:txBody>
      <dsp:txXfrm>
        <a:off x="6832668" y="2923602"/>
        <a:ext cx="1941118" cy="592040"/>
      </dsp:txXfrm>
    </dsp:sp>
    <dsp:sp modelId="{14728D5C-4BA9-4958-AC82-4AA54D67161F}">
      <dsp:nvSpPr>
        <dsp:cNvPr id="0" name=""/>
        <dsp:cNvSpPr/>
      </dsp:nvSpPr>
      <dsp:spPr>
        <a:xfrm>
          <a:off x="6832668" y="3758283"/>
          <a:ext cx="1941118" cy="5920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b="1" kern="1200"/>
            <a:t>MinilmEmbeddingGenerator</a:t>
          </a:r>
          <a:endParaRPr lang="en-US" sz="1000" kern="1200"/>
        </a:p>
      </dsp:txBody>
      <dsp:txXfrm>
        <a:off x="6832668" y="3758283"/>
        <a:ext cx="1941118" cy="5920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ABE77-9391-4678-AD37-491B2E64C5AB}">
      <dsp:nvSpPr>
        <dsp:cNvPr id="0" name=""/>
        <dsp:cNvSpPr/>
      </dsp:nvSpPr>
      <dsp:spPr>
        <a:xfrm>
          <a:off x="0" y="746"/>
          <a:ext cx="10947772" cy="12741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IN" sz="3300" b="1" kern="1200"/>
            <a:t>Purpose: Persist and retrieve vector embeddings efficiently </a:t>
          </a:r>
          <a:endParaRPr lang="en-US" sz="3300" kern="1200"/>
        </a:p>
      </dsp:txBody>
      <dsp:txXfrm>
        <a:off x="62198" y="62944"/>
        <a:ext cx="10823376" cy="1149734"/>
      </dsp:txXfrm>
    </dsp:sp>
    <dsp:sp modelId="{FE228606-4123-4F2F-9785-6124B21B9E91}">
      <dsp:nvSpPr>
        <dsp:cNvPr id="0" name=""/>
        <dsp:cNvSpPr/>
      </dsp:nvSpPr>
      <dsp:spPr>
        <a:xfrm>
          <a:off x="0" y="1369917"/>
          <a:ext cx="10947772" cy="12741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en-IN" sz="3300" b="1" kern="1200"/>
            <a:t>Implementation: VectorStoreFactory creating specific storage implementations: </a:t>
          </a:r>
          <a:endParaRPr lang="en-US" sz="3300" kern="1200"/>
        </a:p>
      </dsp:txBody>
      <dsp:txXfrm>
        <a:off x="62198" y="1432115"/>
        <a:ext cx="10823376" cy="1149734"/>
      </dsp:txXfrm>
    </dsp:sp>
    <dsp:sp modelId="{76EE2CD9-7530-45CA-B962-C5D3000EC0EA}">
      <dsp:nvSpPr>
        <dsp:cNvPr id="0" name=""/>
        <dsp:cNvSpPr/>
      </dsp:nvSpPr>
      <dsp:spPr>
        <a:xfrm>
          <a:off x="0" y="2644047"/>
          <a:ext cx="10947772" cy="170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592"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IN" sz="2600" b="1" kern="1200"/>
            <a:t>ChromaStore</a:t>
          </a:r>
          <a:endParaRPr lang="en-US" sz="2600" kern="1200"/>
        </a:p>
        <a:p>
          <a:pPr marL="228600" lvl="1" indent="-228600" algn="l" defTabSz="1155700">
            <a:lnSpc>
              <a:spcPct val="90000"/>
            </a:lnSpc>
            <a:spcBef>
              <a:spcPct val="0"/>
            </a:spcBef>
            <a:spcAft>
              <a:spcPct val="20000"/>
            </a:spcAft>
            <a:buChar char="•"/>
          </a:pPr>
          <a:r>
            <a:rPr lang="en-IN" sz="2600" b="1" kern="1200"/>
            <a:t>WeaviateStore</a:t>
          </a:r>
          <a:endParaRPr lang="en-US" sz="2600" kern="1200"/>
        </a:p>
        <a:p>
          <a:pPr marL="228600" lvl="1" indent="-228600" algn="l" defTabSz="1155700">
            <a:lnSpc>
              <a:spcPct val="90000"/>
            </a:lnSpc>
            <a:spcBef>
              <a:spcPct val="0"/>
            </a:spcBef>
            <a:spcAft>
              <a:spcPct val="20000"/>
            </a:spcAft>
            <a:buChar char="•"/>
          </a:pPr>
          <a:r>
            <a:rPr lang="en-IN" sz="2600" b="1" kern="1200"/>
            <a:t>PineconeStore</a:t>
          </a:r>
          <a:endParaRPr lang="en-US" sz="2600" kern="1200"/>
        </a:p>
        <a:p>
          <a:pPr marL="228600" lvl="1" indent="-228600" algn="l" defTabSz="1155700">
            <a:lnSpc>
              <a:spcPct val="90000"/>
            </a:lnSpc>
            <a:spcBef>
              <a:spcPct val="0"/>
            </a:spcBef>
            <a:spcAft>
              <a:spcPct val="20000"/>
            </a:spcAft>
            <a:buChar char="•"/>
          </a:pPr>
          <a:r>
            <a:rPr lang="en-IN" sz="2600" b="1" kern="1200"/>
            <a:t>FaissStore</a:t>
          </a:r>
          <a:endParaRPr lang="en-US" sz="2600" kern="1200"/>
        </a:p>
      </dsp:txBody>
      <dsp:txXfrm>
        <a:off x="0" y="2644047"/>
        <a:ext cx="10947772" cy="17077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A777F-91C6-44D9-8059-37E60D404F69}">
      <dsp:nvSpPr>
        <dsp:cNvPr id="0" name=""/>
        <dsp:cNvSpPr/>
      </dsp:nvSpPr>
      <dsp:spPr>
        <a:xfrm>
          <a:off x="1336" y="612686"/>
          <a:ext cx="5211952" cy="312717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N" sz="2400" b="1" kern="1200"/>
            <a:t>Base Interface</a:t>
          </a:r>
          <a:r>
            <a:rPr lang="en-IN" sz="2400" kern="1200"/>
            <a:t>: BaseRAG abstract class with: </a:t>
          </a:r>
          <a:endParaRPr lang="en-US" sz="2400" kern="1200"/>
        </a:p>
        <a:p>
          <a:pPr marL="171450" lvl="1" indent="-171450" algn="l" defTabSz="844550">
            <a:lnSpc>
              <a:spcPct val="90000"/>
            </a:lnSpc>
            <a:spcBef>
              <a:spcPct val="0"/>
            </a:spcBef>
            <a:spcAft>
              <a:spcPct val="15000"/>
            </a:spcAft>
            <a:buChar char="•"/>
          </a:pPr>
          <a:r>
            <a:rPr lang="en-IN" sz="1900" kern="1200"/>
            <a:t>process_documents(zip_path)</a:t>
          </a:r>
          <a:endParaRPr lang="en-US" sz="1900" kern="1200"/>
        </a:p>
        <a:p>
          <a:pPr marL="171450" lvl="1" indent="-171450" algn="l" defTabSz="844550">
            <a:lnSpc>
              <a:spcPct val="90000"/>
            </a:lnSpc>
            <a:spcBef>
              <a:spcPct val="0"/>
            </a:spcBef>
            <a:spcAft>
              <a:spcPct val="15000"/>
            </a:spcAft>
            <a:buChar char="•"/>
          </a:pPr>
          <a:r>
            <a:rPr lang="en-IN" sz="1900" kern="1200"/>
            <a:t>generate_response(query, max_length)</a:t>
          </a:r>
          <a:endParaRPr lang="en-US" sz="1900" kern="1200"/>
        </a:p>
        <a:p>
          <a:pPr marL="171450" lvl="1" indent="-171450" algn="l" defTabSz="844550">
            <a:lnSpc>
              <a:spcPct val="90000"/>
            </a:lnSpc>
            <a:spcBef>
              <a:spcPct val="0"/>
            </a:spcBef>
            <a:spcAft>
              <a:spcPct val="15000"/>
            </a:spcAft>
            <a:buChar char="•"/>
          </a:pPr>
          <a:r>
            <a:rPr lang="en-IN" sz="1900" kern="1200"/>
            <a:t>retrieve_context(query, max_docs)</a:t>
          </a:r>
          <a:endParaRPr lang="en-US" sz="1900" kern="1200"/>
        </a:p>
      </dsp:txBody>
      <dsp:txXfrm>
        <a:off x="1336" y="612686"/>
        <a:ext cx="5211952" cy="3127171"/>
      </dsp:txXfrm>
    </dsp:sp>
    <dsp:sp modelId="{A482A9D6-1345-4775-93F2-F0857F1B86C7}">
      <dsp:nvSpPr>
        <dsp:cNvPr id="0" name=""/>
        <dsp:cNvSpPr/>
      </dsp:nvSpPr>
      <dsp:spPr>
        <a:xfrm>
          <a:off x="5734483" y="612686"/>
          <a:ext cx="5211952" cy="3127171"/>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IN" sz="2400" b="1" kern="1200"/>
            <a:t>Implementation Types</a:t>
          </a:r>
          <a:r>
            <a:rPr lang="en-IN" sz="2400" kern="1200"/>
            <a:t>: </a:t>
          </a:r>
          <a:endParaRPr lang="en-US" sz="2400" kern="1200"/>
        </a:p>
        <a:p>
          <a:pPr marL="171450" lvl="1" indent="-171450" algn="l" defTabSz="844550">
            <a:lnSpc>
              <a:spcPct val="90000"/>
            </a:lnSpc>
            <a:spcBef>
              <a:spcPct val="0"/>
            </a:spcBef>
            <a:spcAft>
              <a:spcPct val="15000"/>
            </a:spcAft>
            <a:buChar char="•"/>
          </a:pPr>
          <a:r>
            <a:rPr lang="en-IN" sz="1900" kern="1200"/>
            <a:t>StandardRAG: Basic retrieval and generation</a:t>
          </a:r>
          <a:endParaRPr lang="en-US" sz="1900" kern="1200"/>
        </a:p>
        <a:p>
          <a:pPr marL="171450" lvl="1" indent="-171450" algn="l" defTabSz="844550">
            <a:lnSpc>
              <a:spcPct val="90000"/>
            </a:lnSpc>
            <a:spcBef>
              <a:spcPct val="0"/>
            </a:spcBef>
            <a:spcAft>
              <a:spcPct val="15000"/>
            </a:spcAft>
            <a:buChar char="•"/>
          </a:pPr>
          <a:r>
            <a:rPr lang="en-IN" sz="1900" kern="1200"/>
            <a:t>GraphRAG: Knowledge graph-enhanced retrieval</a:t>
          </a:r>
          <a:endParaRPr lang="en-US" sz="1900" kern="1200"/>
        </a:p>
        <a:p>
          <a:pPr marL="171450" lvl="1" indent="-171450" algn="l" defTabSz="844550">
            <a:lnSpc>
              <a:spcPct val="90000"/>
            </a:lnSpc>
            <a:spcBef>
              <a:spcPct val="0"/>
            </a:spcBef>
            <a:spcAft>
              <a:spcPct val="15000"/>
            </a:spcAft>
            <a:buChar char="•"/>
          </a:pPr>
          <a:r>
            <a:rPr lang="en-IN" sz="1900" kern="1200"/>
            <a:t>AdaptiveRAG: Confidence-based adaptive retrieval</a:t>
          </a:r>
          <a:endParaRPr lang="en-US" sz="1900" kern="1200"/>
        </a:p>
        <a:p>
          <a:pPr marL="171450" lvl="1" indent="-171450" algn="l" defTabSz="844550">
            <a:lnSpc>
              <a:spcPct val="90000"/>
            </a:lnSpc>
            <a:spcBef>
              <a:spcPct val="0"/>
            </a:spcBef>
            <a:spcAft>
              <a:spcPct val="15000"/>
            </a:spcAft>
            <a:buChar char="•"/>
          </a:pPr>
          <a:r>
            <a:rPr lang="en-IN" sz="1900" kern="1200"/>
            <a:t>IterativeRAG: Multi-step retrieval process</a:t>
          </a:r>
          <a:endParaRPr lang="en-US" sz="1900" kern="1200"/>
        </a:p>
        <a:p>
          <a:pPr marL="171450" lvl="1" indent="-171450" algn="l" defTabSz="844550">
            <a:lnSpc>
              <a:spcPct val="90000"/>
            </a:lnSpc>
            <a:spcBef>
              <a:spcPct val="0"/>
            </a:spcBef>
            <a:spcAft>
              <a:spcPct val="15000"/>
            </a:spcAft>
            <a:buChar char="•"/>
          </a:pPr>
          <a:r>
            <a:rPr lang="en-IN" sz="1900" kern="1200"/>
            <a:t>CorrectiveRAG: Fact-checked responses</a:t>
          </a:r>
          <a:endParaRPr lang="en-US" sz="1900" kern="1200"/>
        </a:p>
        <a:p>
          <a:pPr marL="171450" lvl="1" indent="-171450" algn="l" defTabSz="844550">
            <a:lnSpc>
              <a:spcPct val="90000"/>
            </a:lnSpc>
            <a:spcBef>
              <a:spcPct val="0"/>
            </a:spcBef>
            <a:spcAft>
              <a:spcPct val="15000"/>
            </a:spcAft>
            <a:buChar char="•"/>
          </a:pPr>
          <a:r>
            <a:rPr lang="en-IN" sz="1900" kern="1200"/>
            <a:t>RaptorRAG: Reranking and prompt optimization</a:t>
          </a:r>
          <a:endParaRPr lang="en-US" sz="1900" kern="1200"/>
        </a:p>
      </dsp:txBody>
      <dsp:txXfrm>
        <a:off x="5734483" y="612686"/>
        <a:ext cx="5211952" cy="31271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F8A3E4-D3AE-46A7-8266-53C20F138C00}">
      <dsp:nvSpPr>
        <dsp:cNvPr id="0" name=""/>
        <dsp:cNvSpPr/>
      </dsp:nvSpPr>
      <dsp:spPr>
        <a:xfrm>
          <a:off x="0" y="0"/>
          <a:ext cx="1094777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42A66C49-2504-4910-8FFB-442EDCEB221A}">
      <dsp:nvSpPr>
        <dsp:cNvPr id="0" name=""/>
        <dsp:cNvSpPr/>
      </dsp:nvSpPr>
      <dsp:spPr>
        <a:xfrm>
          <a:off x="0" y="0"/>
          <a:ext cx="2189554" cy="4352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a:lnSpc>
              <a:spcPct val="90000"/>
            </a:lnSpc>
            <a:spcBef>
              <a:spcPct val="0"/>
            </a:spcBef>
            <a:spcAft>
              <a:spcPct val="35000"/>
            </a:spcAft>
            <a:buNone/>
          </a:pPr>
          <a:r>
            <a:rPr lang="en-IN" sz="3300" b="1" kern="1200"/>
            <a:t>Enhanced CSV Analysis: </a:t>
          </a:r>
          <a:endParaRPr lang="en-US" sz="3300" kern="1200"/>
        </a:p>
      </dsp:txBody>
      <dsp:txXfrm>
        <a:off x="0" y="0"/>
        <a:ext cx="2189554" cy="4352544"/>
      </dsp:txXfrm>
    </dsp:sp>
    <dsp:sp modelId="{261E8C29-114C-40AB-B65F-441C92274A91}">
      <dsp:nvSpPr>
        <dsp:cNvPr id="0" name=""/>
        <dsp:cNvSpPr/>
      </dsp:nvSpPr>
      <dsp:spPr>
        <a:xfrm>
          <a:off x="2353770" y="34269"/>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Statistical Summary: Mean, std dev, min, max for numeric columns</a:t>
          </a:r>
          <a:endParaRPr lang="en-US" sz="2000" kern="1200"/>
        </a:p>
      </dsp:txBody>
      <dsp:txXfrm>
        <a:off x="2353770" y="34269"/>
        <a:ext cx="8594001" cy="685398"/>
      </dsp:txXfrm>
    </dsp:sp>
    <dsp:sp modelId="{EF4BC43A-D65F-4D64-9D3C-B6681F3B5F0F}">
      <dsp:nvSpPr>
        <dsp:cNvPr id="0" name=""/>
        <dsp:cNvSpPr/>
      </dsp:nvSpPr>
      <dsp:spPr>
        <a:xfrm>
          <a:off x="2189554" y="719668"/>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E35AF6F4-403D-48D8-BC86-5B478891A7FC}">
      <dsp:nvSpPr>
        <dsp:cNvPr id="0" name=""/>
        <dsp:cNvSpPr/>
      </dsp:nvSpPr>
      <dsp:spPr>
        <a:xfrm>
          <a:off x="2353770" y="753937"/>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Null Value Detection: Counts missing values in each column</a:t>
          </a:r>
          <a:endParaRPr lang="en-US" sz="2000" kern="1200"/>
        </a:p>
      </dsp:txBody>
      <dsp:txXfrm>
        <a:off x="2353770" y="753937"/>
        <a:ext cx="8594001" cy="685398"/>
      </dsp:txXfrm>
    </dsp:sp>
    <dsp:sp modelId="{B09AE556-8A42-47E0-9CA5-8E9E4B586158}">
      <dsp:nvSpPr>
        <dsp:cNvPr id="0" name=""/>
        <dsp:cNvSpPr/>
      </dsp:nvSpPr>
      <dsp:spPr>
        <a:xfrm>
          <a:off x="2189554" y="1439336"/>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D8C9B5FF-7D22-442D-A849-43A5CEE927C4}">
      <dsp:nvSpPr>
        <dsp:cNvPr id="0" name=""/>
        <dsp:cNvSpPr/>
      </dsp:nvSpPr>
      <dsp:spPr>
        <a:xfrm>
          <a:off x="2353770" y="1473606"/>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Type Detection: Identifies numeric, categorical, and date columns</a:t>
          </a:r>
          <a:endParaRPr lang="en-US" sz="2000" kern="1200"/>
        </a:p>
      </dsp:txBody>
      <dsp:txXfrm>
        <a:off x="2353770" y="1473606"/>
        <a:ext cx="8594001" cy="685398"/>
      </dsp:txXfrm>
    </dsp:sp>
    <dsp:sp modelId="{E5AD63A0-E011-4F82-8F34-B75AFA671E37}">
      <dsp:nvSpPr>
        <dsp:cNvPr id="0" name=""/>
        <dsp:cNvSpPr/>
      </dsp:nvSpPr>
      <dsp:spPr>
        <a:xfrm>
          <a:off x="2189554" y="2159004"/>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E036C948-6F5D-44D4-A9EC-2F48550FB2FC}">
      <dsp:nvSpPr>
        <dsp:cNvPr id="0" name=""/>
        <dsp:cNvSpPr/>
      </dsp:nvSpPr>
      <dsp:spPr>
        <a:xfrm>
          <a:off x="2353770" y="2193274"/>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Distribution Analysis: For categorical columns with few unique values</a:t>
          </a:r>
          <a:endParaRPr lang="en-US" sz="2000" kern="1200"/>
        </a:p>
      </dsp:txBody>
      <dsp:txXfrm>
        <a:off x="2353770" y="2193274"/>
        <a:ext cx="8594001" cy="685398"/>
      </dsp:txXfrm>
    </dsp:sp>
    <dsp:sp modelId="{B89F686A-F559-4BA0-B128-919F669F969B}">
      <dsp:nvSpPr>
        <dsp:cNvPr id="0" name=""/>
        <dsp:cNvSpPr/>
      </dsp:nvSpPr>
      <dsp:spPr>
        <a:xfrm>
          <a:off x="2189554" y="2878672"/>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C5D25013-FAE3-41DF-AD5C-D403372CCC86}">
      <dsp:nvSpPr>
        <dsp:cNvPr id="0" name=""/>
        <dsp:cNvSpPr/>
      </dsp:nvSpPr>
      <dsp:spPr>
        <a:xfrm>
          <a:off x="2353770" y="2912942"/>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Correlation Analysis: For numeric column pairs with strong correlations</a:t>
          </a:r>
          <a:endParaRPr lang="en-US" sz="2000" kern="1200"/>
        </a:p>
      </dsp:txBody>
      <dsp:txXfrm>
        <a:off x="2353770" y="2912942"/>
        <a:ext cx="8594001" cy="685398"/>
      </dsp:txXfrm>
    </dsp:sp>
    <dsp:sp modelId="{785A9B0E-2E85-4B55-B9A4-0CA1A406BFE2}">
      <dsp:nvSpPr>
        <dsp:cNvPr id="0" name=""/>
        <dsp:cNvSpPr/>
      </dsp:nvSpPr>
      <dsp:spPr>
        <a:xfrm>
          <a:off x="2189554" y="3598340"/>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 modelId="{82912EE8-3AA3-4CCA-8E4C-F0394359E49C}">
      <dsp:nvSpPr>
        <dsp:cNvPr id="0" name=""/>
        <dsp:cNvSpPr/>
      </dsp:nvSpPr>
      <dsp:spPr>
        <a:xfrm>
          <a:off x="2353770" y="3632610"/>
          <a:ext cx="8594001" cy="685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IN" sz="2000" b="1" kern="1200"/>
            <a:t>Sample Records: Includes first few rows for reference</a:t>
          </a:r>
          <a:endParaRPr lang="en-US" sz="2000" kern="1200"/>
        </a:p>
      </dsp:txBody>
      <dsp:txXfrm>
        <a:off x="2353770" y="3632610"/>
        <a:ext cx="8594001" cy="685398"/>
      </dsp:txXfrm>
    </dsp:sp>
    <dsp:sp modelId="{290A2E1D-4533-4D6A-ADDF-7167F98BBADF}">
      <dsp:nvSpPr>
        <dsp:cNvPr id="0" name=""/>
        <dsp:cNvSpPr/>
      </dsp:nvSpPr>
      <dsp:spPr>
        <a:xfrm>
          <a:off x="2189554" y="4318008"/>
          <a:ext cx="8758217"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3/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3/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www.twitter.com/capgemini" TargetMode="Externa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www.twitter.com/capgemini"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3.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1.png"/><Relationship Id="rId2" Type="http://schemas.openxmlformats.org/officeDocument/2006/relationships/tags" Target="../tags/tag7.xml"/><Relationship Id="rId16" Type="http://schemas.openxmlformats.org/officeDocument/2006/relationships/image" Target="../media/image3.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9.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3.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6.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15.xml"/><Relationship Id="rId16" Type="http://schemas.openxmlformats.org/officeDocument/2006/relationships/image" Target="../media/image3.png"/><Relationship Id="rId1" Type="http://schemas.openxmlformats.org/officeDocument/2006/relationships/tags" Target="../tags/tag14.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24" name="Image 10">
            <a:extLst>
              <a:ext uri="{FF2B5EF4-FFF2-40B4-BE49-F238E27FC236}">
                <a16:creationId xmlns:a16="http://schemas.microsoft.com/office/drawing/2014/main" id="{B26D4099-61B1-15CB-7C7C-11E786FC03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779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019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244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noProof="0"/>
              <a:t>Click to edit Master title style</a:t>
            </a:r>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noProof="0"/>
              <a:t>Click icon to add picture with alt text</a:t>
            </a:r>
          </a:p>
        </p:txBody>
      </p:sp>
    </p:spTree>
    <p:extLst>
      <p:ext uri="{BB962C8B-B14F-4D97-AF65-F5344CB8AC3E}">
        <p14:creationId xmlns:p14="http://schemas.microsoft.com/office/powerpoint/2010/main" val="539693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3523731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25" name="Image 8">
            <a:extLst>
              <a:ext uri="{FF2B5EF4-FFF2-40B4-BE49-F238E27FC236}">
                <a16:creationId xmlns:a16="http://schemas.microsoft.com/office/drawing/2014/main" id="{311F1493-D81C-66AD-F722-4851A3A131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23" name="Image 8">
            <a:extLst>
              <a:ext uri="{FF2B5EF4-FFF2-40B4-BE49-F238E27FC236}">
                <a16:creationId xmlns:a16="http://schemas.microsoft.com/office/drawing/2014/main" id="{F087393E-2B81-8A0D-97F6-9A40CB2A2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7" name="Image 8">
            <a:extLst>
              <a:ext uri="{FF2B5EF4-FFF2-40B4-BE49-F238E27FC236}">
                <a16:creationId xmlns:a16="http://schemas.microsoft.com/office/drawing/2014/main" id="{0ECA89A4-8150-A672-CEBC-33BC68AD529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7" name="Image 28">
            <a:extLst>
              <a:ext uri="{FF2B5EF4-FFF2-40B4-BE49-F238E27FC236}">
                <a16:creationId xmlns:a16="http://schemas.microsoft.com/office/drawing/2014/main" id="{A57B991B-FBDF-B30C-07DC-BFFEFE80D04E}"/>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3447345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22579264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86988297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0776986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6283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47178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380103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23168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en-US"/>
              <a:t>Click to edit Master title style</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395981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1892577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08116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3918172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459049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81573717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0519199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0544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232185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a:t>
            </a:r>
            <a:r>
              <a:rPr lang="en-GB" sz="900" kern="1200" err="1">
                <a:solidFill>
                  <a:schemeClr val="lt1"/>
                </a:solidFill>
                <a:effectLst/>
                <a:latin typeface="+mn-lt"/>
                <a:ea typeface="+mn-ea"/>
                <a:cs typeface="+mn-cs"/>
              </a:rPr>
              <a:t>Capgemini’s</a:t>
            </a:r>
            <a:r>
              <a:rPr lang="en-GB" sz="900" kern="1200">
                <a:solidFill>
                  <a:schemeClr val="lt1"/>
                </a:solidFill>
                <a:effectLst/>
                <a:latin typeface="+mn-lt"/>
                <a:ea typeface="+mn-ea"/>
                <a:cs typeface="+mn-cs"/>
              </a:rPr>
              <a:t>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80940252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a:t>
            </a:r>
            <a:r>
              <a:rPr lang="en-GB" sz="900" kern="1200" err="1">
                <a:solidFill>
                  <a:schemeClr val="lt1"/>
                </a:solidFill>
                <a:effectLst/>
                <a:latin typeface="+mn-lt"/>
                <a:ea typeface="+mn-ea"/>
                <a:cs typeface="+mn-cs"/>
              </a:rPr>
              <a:t>Capgemini’s</a:t>
            </a:r>
            <a:r>
              <a:rPr lang="en-GB" sz="900" kern="1200">
                <a:solidFill>
                  <a:schemeClr val="lt1"/>
                </a:solidFill>
                <a:effectLst/>
                <a:latin typeface="+mn-lt"/>
                <a:ea typeface="+mn-ea"/>
                <a:cs typeface="+mn-cs"/>
              </a:rPr>
              <a:t>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40702217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9052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86124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7697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itle 7"/>
          <p:cNvSpPr>
            <a:spLocks noGrp="1" noChangeAspect="1"/>
          </p:cNvSpPr>
          <p:nvPr>
            <p:ph type="title" hasCustomPrompt="1"/>
          </p:nvPr>
        </p:nvSpPr>
        <p:spPr/>
        <p:txBody>
          <a:bodyPr/>
          <a:lstStyle>
            <a:lvl1pPr>
              <a:defRPr>
                <a:solidFill>
                  <a:srgbClr val="007EAF"/>
                </a:solidFill>
              </a:defRPr>
            </a:lvl1pPr>
          </a:lstStyle>
          <a:p>
            <a:r>
              <a:rPr lang="en-US"/>
              <a:t>Click to add Slide title</a:t>
            </a:r>
          </a:p>
        </p:txBody>
      </p:sp>
      <p:sp>
        <p:nvSpPr>
          <p:cNvPr id="5" name="Text Placeholder 2">
            <a:extLst>
              <a:ext uri="{FF2B5EF4-FFF2-40B4-BE49-F238E27FC236}">
                <a16:creationId xmlns:a16="http://schemas.microsoft.com/office/drawing/2014/main" id="{0CBFC6FF-9D56-40D8-8F7E-61D69F258896}"/>
              </a:ext>
            </a:extLst>
          </p:cNvPr>
          <p:cNvSpPr>
            <a:spLocks noGrp="1"/>
          </p:cNvSpPr>
          <p:nvPr>
            <p:ph idx="1"/>
          </p:nvPr>
        </p:nvSpPr>
        <p:spPr>
          <a:xfrm>
            <a:off x="207913" y="1021597"/>
            <a:ext cx="11770100" cy="5493502"/>
          </a:xfrm>
          <a:prstGeom prst="rect">
            <a:avLst/>
          </a:prstGeom>
        </p:spPr>
        <p:txBody>
          <a:bodyPr vert="horz" lIns="68265" tIns="34134" rIns="68265" bIns="341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057919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Slide title</a:t>
            </a:r>
          </a:p>
        </p:txBody>
      </p:sp>
    </p:spTree>
    <p:extLst>
      <p:ext uri="{BB962C8B-B14F-4D97-AF65-F5344CB8AC3E}">
        <p14:creationId xmlns:p14="http://schemas.microsoft.com/office/powerpoint/2010/main" val="337613251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291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4386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9.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oleObject" Target="../embeddings/oleObject1.bin"/><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ags" Target="../tags/tag10.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image" Target="../media/image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3.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4021" r:id="rId3"/>
    <p:sldLayoutId id="2147484020" r:id="rId4"/>
    <p:sldLayoutId id="2147483966" r:id="rId5"/>
    <p:sldLayoutId id="2147483967" r:id="rId6"/>
    <p:sldLayoutId id="2147483968" r:id="rId7"/>
    <p:sldLayoutId id="2147483969" r:id="rId8"/>
    <p:sldLayoutId id="2147483970" r:id="rId9"/>
    <p:sldLayoutId id="2147484026" r:id="rId10"/>
    <p:sldLayoutId id="2147483972" r:id="rId11"/>
    <p:sldLayoutId id="2147483973" r:id="rId12"/>
    <p:sldLayoutId id="2147483974" r:id="rId13"/>
    <p:sldLayoutId id="2147483975" r:id="rId14"/>
    <p:sldLayoutId id="2147483977" r:id="rId15"/>
    <p:sldLayoutId id="2147483978" r:id="rId16"/>
    <p:sldLayoutId id="2147483980" r:id="rId17"/>
    <p:sldLayoutId id="2147483981" r:id="rId18"/>
    <p:sldLayoutId id="2147483983" r:id="rId19"/>
    <p:sldLayoutId id="2147483987" r:id="rId20"/>
    <p:sldLayoutId id="2147483984" r:id="rId21"/>
    <p:sldLayoutId id="2147483985"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1" name="Object 20"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980192989"/>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2" r:id="rId17"/>
    <p:sldLayoutId id="2147484163" r:id="rId18"/>
    <p:sldLayoutId id="2147484165" r:id="rId1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52" r:id="rId21"/>
    <p:sldLayoutId id="2147484046" r:id="rId22"/>
    <p:sldLayoutId id="2147483986"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9A4BEFD5-7727-CC82-92AE-3DC7C900C166}"/>
              </a:ext>
            </a:extLst>
          </p:cNvPr>
          <p:cNvGrpSpPr/>
          <p:nvPr/>
        </p:nvGrpSpPr>
        <p:grpSpPr>
          <a:xfrm>
            <a:off x="9163290" y="6356430"/>
            <a:ext cx="3456971" cy="369332"/>
            <a:chOff x="270075" y="6279265"/>
            <a:chExt cx="3456971" cy="369332"/>
          </a:xfrm>
        </p:grpSpPr>
        <p:sp>
          <p:nvSpPr>
            <p:cNvPr id="17" name="TextBox 16">
              <a:extLst>
                <a:ext uri="{FF2B5EF4-FFF2-40B4-BE49-F238E27FC236}">
                  <a16:creationId xmlns:a16="http://schemas.microsoft.com/office/drawing/2014/main" id="{49F940FA-6DE7-248C-2793-128409BE7946}"/>
                </a:ext>
              </a:extLst>
            </p:cNvPr>
            <p:cNvSpPr txBox="1"/>
            <p:nvPr/>
          </p:nvSpPr>
          <p:spPr>
            <a:xfrm>
              <a:off x="270075" y="6279265"/>
              <a:ext cx="345697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chemeClr val="bg1"/>
                  </a:solidFill>
                  <a:latin typeface="Ubuntu Medium"/>
                </a:rPr>
                <a:t>INTELLIGENT        DEVICES</a:t>
              </a:r>
            </a:p>
          </p:txBody>
        </p:sp>
        <p:pic>
          <p:nvPicPr>
            <p:cNvPr id="18" name="Picture 17" descr="Capgemini logo in transparent PNG and vectorized SVG formats">
              <a:extLst>
                <a:ext uri="{FF2B5EF4-FFF2-40B4-BE49-F238E27FC236}">
                  <a16:creationId xmlns:a16="http://schemas.microsoft.com/office/drawing/2014/main" id="{344283D7-6C28-7B40-18DB-BD3B7AA7FEDC}"/>
                </a:ext>
              </a:extLst>
            </p:cNvPr>
            <p:cNvPicPr>
              <a:picLocks noChangeAspect="1"/>
            </p:cNvPicPr>
            <p:nvPr/>
          </p:nvPicPr>
          <p:blipFill>
            <a:blip r:embed="rId2"/>
            <a:stretch>
              <a:fillRect/>
            </a:stretch>
          </p:blipFill>
          <p:spPr>
            <a:xfrm>
              <a:off x="1811438" y="6312383"/>
              <a:ext cx="331807" cy="290651"/>
            </a:xfrm>
            <a:prstGeom prst="rect">
              <a:avLst/>
            </a:prstGeom>
          </p:spPr>
        </p:pic>
      </p:grpSp>
      <p:pic>
        <p:nvPicPr>
          <p:cNvPr id="7" name="Picture 6" descr="A blue and black logo&#10;&#10;Description automatically generated">
            <a:extLst>
              <a:ext uri="{FF2B5EF4-FFF2-40B4-BE49-F238E27FC236}">
                <a16:creationId xmlns:a16="http://schemas.microsoft.com/office/drawing/2014/main" id="{9ADA3D1F-71D1-446B-3B01-B411BE572FDE}"/>
              </a:ext>
            </a:extLst>
          </p:cNvPr>
          <p:cNvPicPr>
            <a:picLocks noChangeAspect="1"/>
          </p:cNvPicPr>
          <p:nvPr/>
        </p:nvPicPr>
        <p:blipFill>
          <a:blip r:embed="rId3"/>
          <a:stretch>
            <a:fillRect/>
          </a:stretch>
        </p:blipFill>
        <p:spPr>
          <a:xfrm>
            <a:off x="511091" y="2190122"/>
            <a:ext cx="3995595" cy="1238878"/>
          </a:xfrm>
          <a:prstGeom prst="rect">
            <a:avLst/>
          </a:prstGeom>
        </p:spPr>
      </p:pic>
      <p:sp>
        <p:nvSpPr>
          <p:cNvPr id="11" name="Google Shape;165;p27">
            <a:extLst>
              <a:ext uri="{FF2B5EF4-FFF2-40B4-BE49-F238E27FC236}">
                <a16:creationId xmlns:a16="http://schemas.microsoft.com/office/drawing/2014/main" id="{2F094275-768B-2577-6A0E-332D66BEFF8B}"/>
              </a:ext>
            </a:extLst>
          </p:cNvPr>
          <p:cNvSpPr txBox="1">
            <a:spLocks/>
          </p:cNvSpPr>
          <p:nvPr/>
        </p:nvSpPr>
        <p:spPr>
          <a:xfrm>
            <a:off x="165413" y="3730225"/>
            <a:ext cx="5604015" cy="1706911"/>
          </a:xfrm>
          <a:prstGeom prst="rect">
            <a:avLst/>
          </a:prstGeom>
        </p:spPr>
        <p:txBody>
          <a:bodyPr spcFirstLastPara="1" vert="horz" wrap="square" lIns="121900" tIns="121900" rIns="121900" bIns="121900" rtlCol="0" anchor="ctr"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8000" b="1" i="0" u="none" strike="noStrike" kern="1200" cap="all" spc="0" normalizeH="0" baseline="0" noProof="0">
                <a:ln>
                  <a:noFill/>
                </a:ln>
                <a:solidFill>
                  <a:schemeClr val="bg1"/>
                </a:solidFill>
                <a:effectLst/>
                <a:uLnTx/>
                <a:uFillTx/>
                <a:latin typeface="+mn-lt"/>
                <a:ea typeface="+mj-ea"/>
                <a:cs typeface="+mj-cs"/>
              </a:defRPr>
            </a:lvl1pPr>
          </a:lstStyle>
          <a:p>
            <a:r>
              <a:rPr lang="en-US" sz="2800" dirty="0"/>
              <a:t>Retrieval-Augmented Generation (RAG) System Architecture</a:t>
            </a:r>
            <a:endParaRPr lang="en-US" sz="7200" dirty="0">
              <a:solidFill>
                <a:schemeClr val="accent2"/>
              </a:solidFill>
            </a:endParaRPr>
          </a:p>
        </p:txBody>
      </p:sp>
      <p:pic>
        <p:nvPicPr>
          <p:cNvPr id="6" name="Picture Placeholder 5" descr="A black and white logo&#10;&#10;AI-generated content may be incorrect.">
            <a:extLst>
              <a:ext uri="{FF2B5EF4-FFF2-40B4-BE49-F238E27FC236}">
                <a16:creationId xmlns:a16="http://schemas.microsoft.com/office/drawing/2014/main" id="{B4F03BEC-58C1-3F7F-A590-B043A9A3749F}"/>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l="21261" r="21261"/>
          <a:stretch>
            <a:fillRect/>
          </a:stretch>
        </p:blipFill>
        <p:spPr/>
      </p:pic>
    </p:spTree>
    <p:extLst>
      <p:ext uri="{BB962C8B-B14F-4D97-AF65-F5344CB8AC3E}">
        <p14:creationId xmlns:p14="http://schemas.microsoft.com/office/powerpoint/2010/main" val="3064254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80">
                                          <p:stCondLst>
                                            <p:cond delay="0"/>
                                          </p:stCondLst>
                                        </p:cTn>
                                        <p:tgtEl>
                                          <p:spTgt spid="7"/>
                                        </p:tgtEl>
                                      </p:cBhvr>
                                    </p:animEffect>
                                    <p:anim calcmode="lin" valueType="num">
                                      <p:cBhvr>
                                        <p:cTn id="8"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13" dur="26">
                                          <p:stCondLst>
                                            <p:cond delay="650"/>
                                          </p:stCondLst>
                                        </p:cTn>
                                        <p:tgtEl>
                                          <p:spTgt spid="7"/>
                                        </p:tgtEl>
                                      </p:cBhvr>
                                      <p:to x="100000" y="60000"/>
                                    </p:animScale>
                                    <p:animScale>
                                      <p:cBhvr>
                                        <p:cTn id="14" dur="166" decel="50000">
                                          <p:stCondLst>
                                            <p:cond delay="676"/>
                                          </p:stCondLst>
                                        </p:cTn>
                                        <p:tgtEl>
                                          <p:spTgt spid="7"/>
                                        </p:tgtEl>
                                      </p:cBhvr>
                                      <p:to x="100000" y="100000"/>
                                    </p:animScale>
                                    <p:animScale>
                                      <p:cBhvr>
                                        <p:cTn id="15" dur="26">
                                          <p:stCondLst>
                                            <p:cond delay="1312"/>
                                          </p:stCondLst>
                                        </p:cTn>
                                        <p:tgtEl>
                                          <p:spTgt spid="7"/>
                                        </p:tgtEl>
                                      </p:cBhvr>
                                      <p:to x="100000" y="80000"/>
                                    </p:animScale>
                                    <p:animScale>
                                      <p:cBhvr>
                                        <p:cTn id="16" dur="166" decel="50000">
                                          <p:stCondLst>
                                            <p:cond delay="1338"/>
                                          </p:stCondLst>
                                        </p:cTn>
                                        <p:tgtEl>
                                          <p:spTgt spid="7"/>
                                        </p:tgtEl>
                                      </p:cBhvr>
                                      <p:to x="100000" y="100000"/>
                                    </p:animScale>
                                    <p:animScale>
                                      <p:cBhvr>
                                        <p:cTn id="17" dur="26">
                                          <p:stCondLst>
                                            <p:cond delay="1642"/>
                                          </p:stCondLst>
                                        </p:cTn>
                                        <p:tgtEl>
                                          <p:spTgt spid="7"/>
                                        </p:tgtEl>
                                      </p:cBhvr>
                                      <p:to x="100000" y="90000"/>
                                    </p:animScale>
                                    <p:animScale>
                                      <p:cBhvr>
                                        <p:cTn id="18" dur="166" decel="50000">
                                          <p:stCondLst>
                                            <p:cond delay="1668"/>
                                          </p:stCondLst>
                                        </p:cTn>
                                        <p:tgtEl>
                                          <p:spTgt spid="7"/>
                                        </p:tgtEl>
                                      </p:cBhvr>
                                      <p:to x="100000" y="100000"/>
                                    </p:animScale>
                                    <p:animScale>
                                      <p:cBhvr>
                                        <p:cTn id="19" dur="26">
                                          <p:stCondLst>
                                            <p:cond delay="1808"/>
                                          </p:stCondLst>
                                        </p:cTn>
                                        <p:tgtEl>
                                          <p:spTgt spid="7"/>
                                        </p:tgtEl>
                                      </p:cBhvr>
                                      <p:to x="100000" y="95000"/>
                                    </p:animScale>
                                    <p:animScale>
                                      <p:cBhvr>
                                        <p:cTn id="20"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2947B-4D70-B936-3132-8F0773470BFA}"/>
              </a:ext>
            </a:extLst>
          </p:cNvPr>
          <p:cNvSpPr>
            <a:spLocks noGrp="1"/>
          </p:cNvSpPr>
          <p:nvPr>
            <p:ph type="title"/>
          </p:nvPr>
        </p:nvSpPr>
        <p:spPr>
          <a:xfrm>
            <a:off x="404813" y="388188"/>
            <a:ext cx="10947772" cy="716711"/>
          </a:xfrm>
        </p:spPr>
        <p:txBody>
          <a:bodyPr anchor="ctr">
            <a:normAutofit/>
          </a:bodyPr>
          <a:lstStyle/>
          <a:p>
            <a:r>
              <a:rPr lang="en-IN" dirty="0"/>
              <a:t>Vector Storage - Overview</a:t>
            </a:r>
          </a:p>
        </p:txBody>
      </p:sp>
      <p:graphicFrame>
        <p:nvGraphicFramePr>
          <p:cNvPr id="6" name="Text Placeholder 2">
            <a:extLst>
              <a:ext uri="{FF2B5EF4-FFF2-40B4-BE49-F238E27FC236}">
                <a16:creationId xmlns:a16="http://schemas.microsoft.com/office/drawing/2014/main" id="{59CF80F2-1C7B-7C2A-6869-0CD5873508A5}"/>
              </a:ext>
            </a:extLst>
          </p:cNvPr>
          <p:cNvGraphicFramePr/>
          <p:nvPr>
            <p:extLst>
              <p:ext uri="{D42A27DB-BD31-4B8C-83A1-F6EECF244321}">
                <p14:modId xmlns:p14="http://schemas.microsoft.com/office/powerpoint/2010/main" val="4121985046"/>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4945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35567-4F02-56BE-0B07-11EB0EFADAC9}"/>
              </a:ext>
            </a:extLst>
          </p:cNvPr>
          <p:cNvSpPr>
            <a:spLocks noGrp="1"/>
          </p:cNvSpPr>
          <p:nvPr>
            <p:ph type="title"/>
          </p:nvPr>
        </p:nvSpPr>
        <p:spPr/>
        <p:txBody>
          <a:bodyPr/>
          <a:lstStyle/>
          <a:p>
            <a:r>
              <a:rPr lang="en-US" dirty="0"/>
              <a:t>Vector storage overview</a:t>
            </a:r>
            <a:endParaRPr lang="en-IN" dirty="0"/>
          </a:p>
        </p:txBody>
      </p:sp>
      <p:graphicFrame>
        <p:nvGraphicFramePr>
          <p:cNvPr id="3" name="Table 2">
            <a:extLst>
              <a:ext uri="{FF2B5EF4-FFF2-40B4-BE49-F238E27FC236}">
                <a16:creationId xmlns:a16="http://schemas.microsoft.com/office/drawing/2014/main" id="{FC40939C-4E74-4051-3B15-E70E5FC3816C}"/>
              </a:ext>
            </a:extLst>
          </p:cNvPr>
          <p:cNvGraphicFramePr>
            <a:graphicFrameLocks noGrp="1"/>
          </p:cNvGraphicFramePr>
          <p:nvPr>
            <p:extLst>
              <p:ext uri="{D42A27DB-BD31-4B8C-83A1-F6EECF244321}">
                <p14:modId xmlns:p14="http://schemas.microsoft.com/office/powerpoint/2010/main" val="1622938227"/>
              </p:ext>
            </p:extLst>
          </p:nvPr>
        </p:nvGraphicFramePr>
        <p:xfrm>
          <a:off x="404813" y="1104899"/>
          <a:ext cx="11602129" cy="5357813"/>
        </p:xfrm>
        <a:graphic>
          <a:graphicData uri="http://schemas.openxmlformats.org/drawingml/2006/table">
            <a:tbl>
              <a:tblPr>
                <a:tableStyleId>{3C2FFA5D-87B4-456A-9821-1D502468CF0F}</a:tableStyleId>
              </a:tblPr>
              <a:tblGrid>
                <a:gridCol w="1657447">
                  <a:extLst>
                    <a:ext uri="{9D8B030D-6E8A-4147-A177-3AD203B41FA5}">
                      <a16:colId xmlns:a16="http://schemas.microsoft.com/office/drawing/2014/main" val="1601940222"/>
                    </a:ext>
                  </a:extLst>
                </a:gridCol>
                <a:gridCol w="1657447">
                  <a:extLst>
                    <a:ext uri="{9D8B030D-6E8A-4147-A177-3AD203B41FA5}">
                      <a16:colId xmlns:a16="http://schemas.microsoft.com/office/drawing/2014/main" val="1861905437"/>
                    </a:ext>
                  </a:extLst>
                </a:gridCol>
                <a:gridCol w="1657447">
                  <a:extLst>
                    <a:ext uri="{9D8B030D-6E8A-4147-A177-3AD203B41FA5}">
                      <a16:colId xmlns:a16="http://schemas.microsoft.com/office/drawing/2014/main" val="2388017010"/>
                    </a:ext>
                  </a:extLst>
                </a:gridCol>
                <a:gridCol w="1657447">
                  <a:extLst>
                    <a:ext uri="{9D8B030D-6E8A-4147-A177-3AD203B41FA5}">
                      <a16:colId xmlns:a16="http://schemas.microsoft.com/office/drawing/2014/main" val="3777059072"/>
                    </a:ext>
                  </a:extLst>
                </a:gridCol>
                <a:gridCol w="1657447">
                  <a:extLst>
                    <a:ext uri="{9D8B030D-6E8A-4147-A177-3AD203B41FA5}">
                      <a16:colId xmlns:a16="http://schemas.microsoft.com/office/drawing/2014/main" val="4104317002"/>
                    </a:ext>
                  </a:extLst>
                </a:gridCol>
                <a:gridCol w="1657447">
                  <a:extLst>
                    <a:ext uri="{9D8B030D-6E8A-4147-A177-3AD203B41FA5}">
                      <a16:colId xmlns:a16="http://schemas.microsoft.com/office/drawing/2014/main" val="3801476439"/>
                    </a:ext>
                  </a:extLst>
                </a:gridCol>
                <a:gridCol w="1657447">
                  <a:extLst>
                    <a:ext uri="{9D8B030D-6E8A-4147-A177-3AD203B41FA5}">
                      <a16:colId xmlns:a16="http://schemas.microsoft.com/office/drawing/2014/main" val="154170510"/>
                    </a:ext>
                  </a:extLst>
                </a:gridCol>
              </a:tblGrid>
              <a:tr h="221397">
                <a:tc>
                  <a:txBody>
                    <a:bodyPr/>
                    <a:lstStyle/>
                    <a:p>
                      <a:r>
                        <a:rPr lang="en-IN" sz="900" dirty="0"/>
                        <a:t>Vector Store</a:t>
                      </a:r>
                    </a:p>
                  </a:txBody>
                  <a:tcPr marL="21221" marR="21221" marT="10611" marB="10611" anchor="ctr"/>
                </a:tc>
                <a:tc>
                  <a:txBody>
                    <a:bodyPr/>
                    <a:lstStyle/>
                    <a:p>
                      <a:r>
                        <a:rPr lang="en-IN" sz="900"/>
                        <a:t>Key Characteristics</a:t>
                      </a:r>
                    </a:p>
                  </a:txBody>
                  <a:tcPr marL="21221" marR="21221" marT="10611" marB="10611" anchor="ctr"/>
                </a:tc>
                <a:tc>
                  <a:txBody>
                    <a:bodyPr/>
                    <a:lstStyle/>
                    <a:p>
                      <a:r>
                        <a:rPr lang="en-IN" sz="900"/>
                        <a:t>Advantages</a:t>
                      </a:r>
                    </a:p>
                  </a:txBody>
                  <a:tcPr marL="21221" marR="21221" marT="10611" marB="10611" anchor="ctr"/>
                </a:tc>
                <a:tc>
                  <a:txBody>
                    <a:bodyPr/>
                    <a:lstStyle/>
                    <a:p>
                      <a:r>
                        <a:rPr lang="en-IN" sz="900"/>
                        <a:t>Considerations</a:t>
                      </a:r>
                    </a:p>
                  </a:txBody>
                  <a:tcPr marL="21221" marR="21221" marT="10611" marB="10611" anchor="ctr"/>
                </a:tc>
                <a:tc>
                  <a:txBody>
                    <a:bodyPr/>
                    <a:lstStyle/>
                    <a:p>
                      <a:r>
                        <a:rPr lang="en-IN" sz="900"/>
                        <a:t>Implementation</a:t>
                      </a:r>
                    </a:p>
                  </a:txBody>
                  <a:tcPr marL="21221" marR="21221" marT="10611" marB="10611" anchor="ctr"/>
                </a:tc>
                <a:tc>
                  <a:txBody>
                    <a:bodyPr/>
                    <a:lstStyle/>
                    <a:p>
                      <a:r>
                        <a:rPr lang="en-IN" sz="900"/>
                        <a:t>Performance</a:t>
                      </a:r>
                    </a:p>
                  </a:txBody>
                  <a:tcPr marL="21221" marR="21221" marT="10611" marB="10611" anchor="ctr"/>
                </a:tc>
                <a:tc>
                  <a:txBody>
                    <a:bodyPr/>
                    <a:lstStyle/>
                    <a:p>
                      <a:r>
                        <a:rPr lang="en-IN" sz="900"/>
                        <a:t>Scaling</a:t>
                      </a:r>
                    </a:p>
                  </a:txBody>
                  <a:tcPr marL="21221" marR="21221" marT="10611" marB="10611" anchor="ctr"/>
                </a:tc>
                <a:extLst>
                  <a:ext uri="{0D108BD9-81ED-4DB2-BD59-A6C34878D82A}">
                    <a16:rowId xmlns:a16="http://schemas.microsoft.com/office/drawing/2014/main" val="1057668150"/>
                  </a:ext>
                </a:extLst>
              </a:tr>
              <a:tr h="1416942">
                <a:tc>
                  <a:txBody>
                    <a:bodyPr/>
                    <a:lstStyle/>
                    <a:p>
                      <a:r>
                        <a:rPr lang="en-IN" sz="900" b="1"/>
                        <a:t>Weaviate</a:t>
                      </a:r>
                      <a:endParaRPr lang="en-IN" sz="900"/>
                    </a:p>
                  </a:txBody>
                  <a:tcPr marL="21221" marR="21221" marT="10611" marB="10611" anchor="ctr"/>
                </a:tc>
                <a:tc>
                  <a:txBody>
                    <a:bodyPr/>
                    <a:lstStyle/>
                    <a:p>
                      <a:r>
                        <a:rPr lang="en-IN" sz="900" dirty="0"/>
                        <a:t>• Schema-based or schema-less graph DB for vectors • Managed or self-hosted options • </a:t>
                      </a:r>
                      <a:r>
                        <a:rPr lang="en-IN" sz="900" dirty="0" err="1"/>
                        <a:t>GraphQL</a:t>
                      </a:r>
                      <a:r>
                        <a:rPr lang="en-IN" sz="900" dirty="0"/>
                        <a:t> API • Supports multiple vector indices • Multimedia support</a:t>
                      </a:r>
                    </a:p>
                  </a:txBody>
                  <a:tcPr marL="21221" marR="21221" marT="10611" marB="10611" anchor="ctr"/>
                </a:tc>
                <a:tc>
                  <a:txBody>
                    <a:bodyPr/>
                    <a:lstStyle/>
                    <a:p>
                      <a:r>
                        <a:rPr lang="en-US" sz="900" dirty="0"/>
                        <a:t>• Easy to integrate • Built-in semantic search &amp; "hybrid search" support • Rich query capabilities • Contextual classification • Multi-tenancy support</a:t>
                      </a:r>
                    </a:p>
                  </a:txBody>
                  <a:tcPr marL="21221" marR="21221" marT="10611" marB="10611" anchor="ctr"/>
                </a:tc>
                <a:tc>
                  <a:txBody>
                    <a:bodyPr/>
                    <a:lstStyle/>
                    <a:p>
                      <a:r>
                        <a:rPr lang="en-IN" sz="900" dirty="0"/>
                        <a:t>• Requires database environment (Cloud or self-managed) • Pricing or infra overhead, depending on scale • More complex setup than some alternatives • Schema design requires upfront planning</a:t>
                      </a:r>
                    </a:p>
                  </a:txBody>
                  <a:tcPr marL="21221" marR="21221" marT="10611" marB="10611" anchor="ctr"/>
                </a:tc>
                <a:tc>
                  <a:txBody>
                    <a:bodyPr/>
                    <a:lstStyle/>
                    <a:p>
                      <a:r>
                        <a:rPr lang="en-IN" sz="900" dirty="0"/>
                        <a:t>• Docker containers • Kubernetes-ready • Cloud service options • RESTful and </a:t>
                      </a:r>
                      <a:r>
                        <a:rPr lang="en-IN" sz="900" dirty="0" err="1"/>
                        <a:t>GraphQL</a:t>
                      </a:r>
                      <a:r>
                        <a:rPr lang="en-IN" sz="900" dirty="0"/>
                        <a:t> APIs • Client libraries in multiple languages</a:t>
                      </a:r>
                    </a:p>
                  </a:txBody>
                  <a:tcPr marL="21221" marR="21221" marT="10611" marB="10611" anchor="ctr"/>
                </a:tc>
                <a:tc>
                  <a:txBody>
                    <a:bodyPr/>
                    <a:lstStyle/>
                    <a:p>
                      <a:r>
                        <a:rPr lang="en-US" sz="900" dirty="0"/>
                        <a:t>• Good balance of query speed and accuracy • HNSW indexing for approximate nearest neighbors • BM25 text search integration</a:t>
                      </a:r>
                    </a:p>
                  </a:txBody>
                  <a:tcPr marL="21221" marR="21221" marT="10611" marB="10611" anchor="ctr"/>
                </a:tc>
                <a:tc>
                  <a:txBody>
                    <a:bodyPr/>
                    <a:lstStyle/>
                    <a:p>
                      <a:r>
                        <a:rPr lang="en-US" sz="900" dirty="0"/>
                        <a:t>• Horizontal scaling • Sharding capabilities • Multi-node deployment • High availability configurations</a:t>
                      </a:r>
                    </a:p>
                  </a:txBody>
                  <a:tcPr marL="21221" marR="21221" marT="10611" marB="10611" anchor="ctr"/>
                </a:tc>
                <a:extLst>
                  <a:ext uri="{0D108BD9-81ED-4DB2-BD59-A6C34878D82A}">
                    <a16:rowId xmlns:a16="http://schemas.microsoft.com/office/drawing/2014/main" val="1448537760"/>
                  </a:ext>
                </a:extLst>
              </a:tr>
              <a:tr h="1151266">
                <a:tc>
                  <a:txBody>
                    <a:bodyPr/>
                    <a:lstStyle/>
                    <a:p>
                      <a:r>
                        <a:rPr lang="en-IN" sz="900" b="1"/>
                        <a:t>Pinecone</a:t>
                      </a:r>
                      <a:endParaRPr lang="en-IN" sz="900"/>
                    </a:p>
                  </a:txBody>
                  <a:tcPr marL="21221" marR="21221" marT="10611" marB="10611" anchor="ctr"/>
                </a:tc>
                <a:tc>
                  <a:txBody>
                    <a:bodyPr/>
                    <a:lstStyle/>
                    <a:p>
                      <a:r>
                        <a:rPr lang="en-US" sz="900" dirty="0"/>
                        <a:t>• Fully managed, cloud-native vector DB • Serverless architecture • Scalable, with advanced filtering • Specialized for ML/AI workloads • Built-in metadata filtering</a:t>
                      </a:r>
                    </a:p>
                  </a:txBody>
                  <a:tcPr marL="21221" marR="21221" marT="10611" marB="10611" anchor="ctr"/>
                </a:tc>
                <a:tc>
                  <a:txBody>
                    <a:bodyPr/>
                    <a:lstStyle/>
                    <a:p>
                      <a:r>
                        <a:rPr lang="en-US" sz="900" dirty="0"/>
                        <a:t>• Quick to set up • Scales to large vector counts in real-time • No infrastructure management • Consistent low-latency queries • Handles billions of vectors</a:t>
                      </a:r>
                    </a:p>
                  </a:txBody>
                  <a:tcPr marL="21221" marR="21221" marT="10611" marB="10611" anchor="ctr"/>
                </a:tc>
                <a:tc>
                  <a:txBody>
                    <a:bodyPr/>
                    <a:lstStyle/>
                    <a:p>
                      <a:r>
                        <a:rPr lang="en-US" sz="900" dirty="0"/>
                        <a:t>• Vendor lock-in risk • Pay-as-you-go usage can grow in cost if queries or data scale significantly • Less control over infrastructure • Limited customization options</a:t>
                      </a:r>
                    </a:p>
                  </a:txBody>
                  <a:tcPr marL="21221" marR="21221" marT="10611" marB="10611" anchor="ctr"/>
                </a:tc>
                <a:tc>
                  <a:txBody>
                    <a:bodyPr/>
                    <a:lstStyle/>
                    <a:p>
                      <a:r>
                        <a:rPr lang="en-US" sz="900" dirty="0"/>
                        <a:t>• API-based • SDKs for Python, Node.js • Integrates with major ML frameworks • Serverless deployment model</a:t>
                      </a:r>
                    </a:p>
                  </a:txBody>
                  <a:tcPr marL="21221" marR="21221" marT="10611" marB="10611" anchor="ctr"/>
                </a:tc>
                <a:tc>
                  <a:txBody>
                    <a:bodyPr/>
                    <a:lstStyle/>
                    <a:p>
                      <a:r>
                        <a:rPr lang="en-US" sz="900" dirty="0"/>
                        <a:t>• Optimized for low-latency queries • Consistent performance at scale • Auto-tuning capabilities • Multiple distance metrics</a:t>
                      </a:r>
                    </a:p>
                  </a:txBody>
                  <a:tcPr marL="21221" marR="21221" marT="10611" marB="10611" anchor="ctr"/>
                </a:tc>
                <a:tc>
                  <a:txBody>
                    <a:bodyPr/>
                    <a:lstStyle/>
                    <a:p>
                      <a:r>
                        <a:rPr lang="en-US" sz="900" dirty="0"/>
                        <a:t>• Automatic scaling • Multi-region deployment • Managed pod architecture • Auto-scaling storage</a:t>
                      </a:r>
                    </a:p>
                  </a:txBody>
                  <a:tcPr marL="21221" marR="21221" marT="10611" marB="10611" anchor="ctr"/>
                </a:tc>
                <a:extLst>
                  <a:ext uri="{0D108BD9-81ED-4DB2-BD59-A6C34878D82A}">
                    <a16:rowId xmlns:a16="http://schemas.microsoft.com/office/drawing/2014/main" val="3020893214"/>
                  </a:ext>
                </a:extLst>
              </a:tr>
              <a:tr h="1350523">
                <a:tc>
                  <a:txBody>
                    <a:bodyPr/>
                    <a:lstStyle/>
                    <a:p>
                      <a:r>
                        <a:rPr lang="en-IN" sz="900" b="1"/>
                        <a:t>ChromaDB</a:t>
                      </a:r>
                      <a:endParaRPr lang="en-IN" sz="900"/>
                    </a:p>
                  </a:txBody>
                  <a:tcPr marL="21221" marR="21221" marT="10611" marB="10611" anchor="ctr"/>
                </a:tc>
                <a:tc>
                  <a:txBody>
                    <a:bodyPr/>
                    <a:lstStyle/>
                    <a:p>
                      <a:r>
                        <a:rPr lang="en-IN" sz="900" dirty="0"/>
                        <a:t>• Lightweight, open-source vector DB • Pythonic integration (local or minimal server) • In-memory or persistent storage options • Embeddable in applications • Support for multiple embedding types</a:t>
                      </a:r>
                    </a:p>
                  </a:txBody>
                  <a:tcPr marL="21221" marR="21221" marT="10611" marB="10611" anchor="ctr"/>
                </a:tc>
                <a:tc>
                  <a:txBody>
                    <a:bodyPr/>
                    <a:lstStyle/>
                    <a:p>
                      <a:r>
                        <a:rPr lang="en-US" sz="900" dirty="0"/>
                        <a:t>• Very easy local usage • Great for prototyping or small-scale solutions • Local-first architecture • Open-source flexibility • Simple API</a:t>
                      </a:r>
                    </a:p>
                  </a:txBody>
                  <a:tcPr marL="21221" marR="21221" marT="10611" marB="10611" anchor="ctr"/>
                </a:tc>
                <a:tc>
                  <a:txBody>
                    <a:bodyPr/>
                    <a:lstStyle/>
                    <a:p>
                      <a:r>
                        <a:rPr lang="en-US" sz="900" dirty="0"/>
                        <a:t>• Smaller ecosystem vs. Pinecone/</a:t>
                      </a:r>
                      <a:r>
                        <a:rPr lang="en-US" sz="900" dirty="0" err="1"/>
                        <a:t>Weaviate</a:t>
                      </a:r>
                      <a:r>
                        <a:rPr lang="en-US" sz="900" dirty="0"/>
                        <a:t> • May need more manual setup for large distributed deployments • Limited built-in management tools • Newer than some alternatives</a:t>
                      </a:r>
                    </a:p>
                  </a:txBody>
                  <a:tcPr marL="21221" marR="21221" marT="10611" marB="10611" anchor="ctr"/>
                </a:tc>
                <a:tc>
                  <a:txBody>
                    <a:bodyPr/>
                    <a:lstStyle/>
                    <a:p>
                      <a:r>
                        <a:rPr lang="en-US" sz="900" dirty="0"/>
                        <a:t>• Python-native • In-memory or SQLite persistence • Can run embedded or as service • REST API option • Docker support</a:t>
                      </a:r>
                    </a:p>
                  </a:txBody>
                  <a:tcPr marL="21221" marR="21221" marT="10611" marB="10611" anchor="ctr"/>
                </a:tc>
                <a:tc>
                  <a:txBody>
                    <a:bodyPr/>
                    <a:lstStyle/>
                    <a:p>
                      <a:r>
                        <a:rPr lang="en-US" sz="900" dirty="0"/>
                        <a:t>• Fast for small to medium datasets • Good for local development • Efficient memory usage • Simple caching mechanisms</a:t>
                      </a:r>
                    </a:p>
                  </a:txBody>
                  <a:tcPr marL="21221" marR="21221" marT="10611" marB="10611" anchor="ctr"/>
                </a:tc>
                <a:tc>
                  <a:txBody>
                    <a:bodyPr/>
                    <a:lstStyle/>
                    <a:p>
                      <a:r>
                        <a:rPr lang="en-US" sz="900" dirty="0"/>
                        <a:t>• Moderate scaling capabilities • Designed for single-node initially • Can be clustered with additional effort • Good for vertical scaling</a:t>
                      </a:r>
                    </a:p>
                  </a:txBody>
                  <a:tcPr marL="21221" marR="21221" marT="10611" marB="10611" anchor="ctr"/>
                </a:tc>
                <a:extLst>
                  <a:ext uri="{0D108BD9-81ED-4DB2-BD59-A6C34878D82A}">
                    <a16:rowId xmlns:a16="http://schemas.microsoft.com/office/drawing/2014/main" val="2856602982"/>
                  </a:ext>
                </a:extLst>
              </a:tr>
              <a:tr h="1217685">
                <a:tc>
                  <a:txBody>
                    <a:bodyPr/>
                    <a:lstStyle/>
                    <a:p>
                      <a:r>
                        <a:rPr lang="en-IN" sz="900" b="1"/>
                        <a:t>FAISS</a:t>
                      </a:r>
                      <a:endParaRPr lang="en-IN" sz="900"/>
                    </a:p>
                  </a:txBody>
                  <a:tcPr marL="21221" marR="21221" marT="10611" marB="10611" anchor="ctr"/>
                </a:tc>
                <a:tc>
                  <a:txBody>
                    <a:bodyPr/>
                    <a:lstStyle/>
                    <a:p>
                      <a:r>
                        <a:rPr lang="en-US" sz="900" dirty="0"/>
                        <a:t>• Library (C++/Python) for similarity search • No server overhead (embedded library) • Multiple indexing algorithms • Advanced quantization techniques • Developed by Facebook Research</a:t>
                      </a:r>
                    </a:p>
                  </a:txBody>
                  <a:tcPr marL="21221" marR="21221" marT="10611" marB="10611" anchor="ctr"/>
                </a:tc>
                <a:tc>
                  <a:txBody>
                    <a:bodyPr/>
                    <a:lstStyle/>
                    <a:p>
                      <a:r>
                        <a:rPr lang="en-US" sz="900" dirty="0"/>
                        <a:t>• Very fast, runs on GPU or CPU • Full control of data &amp; indexing • Highly optimized algorithms • Multiple similarity metrics • Comprehensive tuning options</a:t>
                      </a:r>
                    </a:p>
                  </a:txBody>
                  <a:tcPr marL="21221" marR="21221" marT="10611" marB="10611" anchor="ctr"/>
                </a:tc>
                <a:tc>
                  <a:txBody>
                    <a:bodyPr/>
                    <a:lstStyle/>
                    <a:p>
                      <a:r>
                        <a:rPr lang="en-US" sz="900" dirty="0"/>
                        <a:t>• More engineering work to integrate • Not a "database" – no out-of-the-box cluster or replication • Requires custom persistence layer • Steeper learning curve</a:t>
                      </a:r>
                    </a:p>
                  </a:txBody>
                  <a:tcPr marL="21221" marR="21221" marT="10611" marB="10611" anchor="ctr"/>
                </a:tc>
                <a:tc>
                  <a:txBody>
                    <a:bodyPr/>
                    <a:lstStyle/>
                    <a:p>
                      <a:r>
                        <a:rPr lang="en-US" sz="900" dirty="0"/>
                        <a:t>• C++ core with Python bindings • Directly embedded in applications • Requires custom storage layer • No built-in server model</a:t>
                      </a:r>
                    </a:p>
                  </a:txBody>
                  <a:tcPr marL="21221" marR="21221" marT="10611" marB="10611" anchor="ctr"/>
                </a:tc>
                <a:tc>
                  <a:txBody>
                    <a:bodyPr/>
                    <a:lstStyle/>
                    <a:p>
                      <a:r>
                        <a:rPr lang="en-IN" sz="900" dirty="0"/>
                        <a:t>• Extremely fast query performance • GPU acceleration support • Optimized for high-dimensional vectors • Multiple index types for different use cases</a:t>
                      </a:r>
                    </a:p>
                  </a:txBody>
                  <a:tcPr marL="21221" marR="21221" marT="10611" marB="10611" anchor="ctr"/>
                </a:tc>
                <a:tc>
                  <a:txBody>
                    <a:bodyPr/>
                    <a:lstStyle/>
                    <a:p>
                      <a:r>
                        <a:rPr lang="en-US" sz="900" dirty="0"/>
                        <a:t>• Manual scaling implementation • Can be distributed with custom code • No built-in sharding • Requires application-level scaling</a:t>
                      </a:r>
                    </a:p>
                  </a:txBody>
                  <a:tcPr marL="21221" marR="21221" marT="10611" marB="10611" anchor="ctr"/>
                </a:tc>
                <a:extLst>
                  <a:ext uri="{0D108BD9-81ED-4DB2-BD59-A6C34878D82A}">
                    <a16:rowId xmlns:a16="http://schemas.microsoft.com/office/drawing/2014/main" val="2708090839"/>
                  </a:ext>
                </a:extLst>
              </a:tr>
            </a:tbl>
          </a:graphicData>
        </a:graphic>
      </p:graphicFrame>
    </p:spTree>
    <p:extLst>
      <p:ext uri="{BB962C8B-B14F-4D97-AF65-F5344CB8AC3E}">
        <p14:creationId xmlns:p14="http://schemas.microsoft.com/office/powerpoint/2010/main" val="2211990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FFBD-D254-F97C-CC45-47A3F5D808CA}"/>
              </a:ext>
            </a:extLst>
          </p:cNvPr>
          <p:cNvSpPr>
            <a:spLocks noGrp="1"/>
          </p:cNvSpPr>
          <p:nvPr>
            <p:ph type="title"/>
          </p:nvPr>
        </p:nvSpPr>
        <p:spPr/>
        <p:txBody>
          <a:bodyPr/>
          <a:lstStyle/>
          <a:p>
            <a:r>
              <a:rPr lang="fr-FR" dirty="0" err="1"/>
              <a:t>Vector</a:t>
            </a:r>
            <a:r>
              <a:rPr lang="fr-FR" dirty="0"/>
              <a:t> Storage - </a:t>
            </a:r>
            <a:r>
              <a:rPr lang="fr-FR" dirty="0" err="1"/>
              <a:t>Technical</a:t>
            </a:r>
            <a:r>
              <a:rPr lang="fr-FR" dirty="0"/>
              <a:t> </a:t>
            </a:r>
            <a:r>
              <a:rPr lang="fr-FR" dirty="0" err="1"/>
              <a:t>Comparison</a:t>
            </a:r>
            <a:r>
              <a:rPr lang="fr-FR" dirty="0"/>
              <a:t> Matrix</a:t>
            </a:r>
            <a:endParaRPr lang="en-IN" dirty="0"/>
          </a:p>
        </p:txBody>
      </p:sp>
      <p:graphicFrame>
        <p:nvGraphicFramePr>
          <p:cNvPr id="4" name="Table 3">
            <a:extLst>
              <a:ext uri="{FF2B5EF4-FFF2-40B4-BE49-F238E27FC236}">
                <a16:creationId xmlns:a16="http://schemas.microsoft.com/office/drawing/2014/main" id="{BE075A10-3774-9777-AEE5-D882DD6BFE4E}"/>
              </a:ext>
            </a:extLst>
          </p:cNvPr>
          <p:cNvGraphicFramePr>
            <a:graphicFrameLocks noGrp="1"/>
          </p:cNvGraphicFramePr>
          <p:nvPr>
            <p:extLst>
              <p:ext uri="{D42A27DB-BD31-4B8C-83A1-F6EECF244321}">
                <p14:modId xmlns:p14="http://schemas.microsoft.com/office/powerpoint/2010/main" val="130883541"/>
              </p:ext>
            </p:extLst>
          </p:nvPr>
        </p:nvGraphicFramePr>
        <p:xfrm>
          <a:off x="404814" y="1447798"/>
          <a:ext cx="11377610" cy="4942116"/>
        </p:xfrm>
        <a:graphic>
          <a:graphicData uri="http://schemas.openxmlformats.org/drawingml/2006/table">
            <a:tbl>
              <a:tblPr/>
              <a:tblGrid>
                <a:gridCol w="2275522">
                  <a:extLst>
                    <a:ext uri="{9D8B030D-6E8A-4147-A177-3AD203B41FA5}">
                      <a16:colId xmlns:a16="http://schemas.microsoft.com/office/drawing/2014/main" val="2904218297"/>
                    </a:ext>
                  </a:extLst>
                </a:gridCol>
                <a:gridCol w="2275522">
                  <a:extLst>
                    <a:ext uri="{9D8B030D-6E8A-4147-A177-3AD203B41FA5}">
                      <a16:colId xmlns:a16="http://schemas.microsoft.com/office/drawing/2014/main" val="17445524"/>
                    </a:ext>
                  </a:extLst>
                </a:gridCol>
                <a:gridCol w="2275522">
                  <a:extLst>
                    <a:ext uri="{9D8B030D-6E8A-4147-A177-3AD203B41FA5}">
                      <a16:colId xmlns:a16="http://schemas.microsoft.com/office/drawing/2014/main" val="3739221644"/>
                    </a:ext>
                  </a:extLst>
                </a:gridCol>
                <a:gridCol w="2275522">
                  <a:extLst>
                    <a:ext uri="{9D8B030D-6E8A-4147-A177-3AD203B41FA5}">
                      <a16:colId xmlns:a16="http://schemas.microsoft.com/office/drawing/2014/main" val="240841752"/>
                    </a:ext>
                  </a:extLst>
                </a:gridCol>
                <a:gridCol w="2275522">
                  <a:extLst>
                    <a:ext uri="{9D8B030D-6E8A-4147-A177-3AD203B41FA5}">
                      <a16:colId xmlns:a16="http://schemas.microsoft.com/office/drawing/2014/main" val="56527714"/>
                    </a:ext>
                  </a:extLst>
                </a:gridCol>
              </a:tblGrid>
              <a:tr h="549124">
                <a:tc>
                  <a:txBody>
                    <a:bodyPr/>
                    <a:lstStyle/>
                    <a:p>
                      <a:r>
                        <a:rPr lang="en-IN">
                          <a:solidFill>
                            <a:schemeClr val="bg1"/>
                          </a:solidFill>
                        </a:rPr>
                        <a:t>Fe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err="1">
                          <a:solidFill>
                            <a:schemeClr val="bg1"/>
                          </a:solidFill>
                        </a:rPr>
                        <a:t>ChromaDB</a:t>
                      </a:r>
                      <a:endParaRPr lang="en-IN"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Weavi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Pinec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AI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6752432"/>
                  </a:ext>
                </a:extLst>
              </a:tr>
              <a:tr h="549124">
                <a:tc>
                  <a:txBody>
                    <a:bodyPr/>
                    <a:lstStyle/>
                    <a:p>
                      <a:r>
                        <a:rPr lang="en-IN" b="1">
                          <a:solidFill>
                            <a:schemeClr val="bg1"/>
                          </a:solidFill>
                        </a:rPr>
                        <a:t>Deployment</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cal/embed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elf-hosted/clo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Cloud-on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cal/embed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9906951"/>
                  </a:ext>
                </a:extLst>
              </a:tr>
              <a:tr h="549124">
                <a:tc>
                  <a:txBody>
                    <a:bodyPr/>
                    <a:lstStyle/>
                    <a:p>
                      <a:r>
                        <a:rPr lang="en-IN" b="1">
                          <a:solidFill>
                            <a:schemeClr val="bg1"/>
                          </a:solidFill>
                        </a:rPr>
                        <a:t>Persistence</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 (d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 (datab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 (manag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Optional (fi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1801731"/>
                  </a:ext>
                </a:extLst>
              </a:tr>
              <a:tr h="549124">
                <a:tc>
                  <a:txBody>
                    <a:bodyPr/>
                    <a:lstStyle/>
                    <a:p>
                      <a:r>
                        <a:rPr lang="en-IN" b="1">
                          <a:solidFill>
                            <a:schemeClr val="bg1"/>
                          </a:solidFill>
                        </a:rPr>
                        <a:t>Scaling</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imi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xtens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imi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9538207"/>
                  </a:ext>
                </a:extLst>
              </a:tr>
              <a:tr h="549124">
                <a:tc>
                  <a:txBody>
                    <a:bodyPr/>
                    <a:lstStyle/>
                    <a:p>
                      <a:r>
                        <a:rPr lang="en-IN" b="1">
                          <a:solidFill>
                            <a:schemeClr val="bg1"/>
                          </a:solidFill>
                        </a:rPr>
                        <a:t>Query Speed</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7432057"/>
                  </a:ext>
                </a:extLst>
              </a:tr>
              <a:tr h="549124">
                <a:tc>
                  <a:txBody>
                    <a:bodyPr/>
                    <a:lstStyle/>
                    <a:p>
                      <a:r>
                        <a:rPr lang="en-IN" b="1">
                          <a:solidFill>
                            <a:schemeClr val="bg1"/>
                          </a:solidFill>
                        </a:rPr>
                        <a:t>Metadata Filtering</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 (advan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1071175"/>
                  </a:ext>
                </a:extLst>
              </a:tr>
              <a:tr h="549124">
                <a:tc>
                  <a:txBody>
                    <a:bodyPr/>
                    <a:lstStyle/>
                    <a:p>
                      <a:r>
                        <a:rPr lang="en-IN" b="1">
                          <a:solidFill>
                            <a:schemeClr val="bg1"/>
                          </a:solidFill>
                        </a:rPr>
                        <a:t>Setup Complexity</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6561137"/>
                  </a:ext>
                </a:extLst>
              </a:tr>
              <a:tr h="549124">
                <a:tc>
                  <a:txBody>
                    <a:bodyPr/>
                    <a:lstStyle/>
                    <a:p>
                      <a:r>
                        <a:rPr lang="en-IN" b="1">
                          <a:solidFill>
                            <a:schemeClr val="bg1"/>
                          </a:solidFill>
                        </a:rPr>
                        <a:t>Maintenance</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9537267"/>
                  </a:ext>
                </a:extLst>
              </a:tr>
              <a:tr h="549124">
                <a:tc>
                  <a:txBody>
                    <a:bodyPr/>
                    <a:lstStyle/>
                    <a:p>
                      <a:r>
                        <a:rPr lang="en-IN" b="1">
                          <a:solidFill>
                            <a:schemeClr val="bg1"/>
                          </a:solidFill>
                        </a:rPr>
                        <a:t>Cost</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r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ree/pai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Pai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Fr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9930451"/>
                  </a:ext>
                </a:extLst>
              </a:tr>
            </a:tbl>
          </a:graphicData>
        </a:graphic>
      </p:graphicFrame>
    </p:spTree>
    <p:extLst>
      <p:ext uri="{BB962C8B-B14F-4D97-AF65-F5344CB8AC3E}">
        <p14:creationId xmlns:p14="http://schemas.microsoft.com/office/powerpoint/2010/main" val="3958116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4E03D-DADE-6A93-9EAB-2E5277E29AEE}"/>
              </a:ext>
            </a:extLst>
          </p:cNvPr>
          <p:cNvSpPr>
            <a:spLocks noGrp="1"/>
          </p:cNvSpPr>
          <p:nvPr>
            <p:ph type="title"/>
          </p:nvPr>
        </p:nvSpPr>
        <p:spPr>
          <a:xfrm>
            <a:off x="404813" y="388188"/>
            <a:ext cx="10947772" cy="716711"/>
          </a:xfrm>
        </p:spPr>
        <p:txBody>
          <a:bodyPr anchor="ctr">
            <a:normAutofit/>
          </a:bodyPr>
          <a:lstStyle/>
          <a:p>
            <a:r>
              <a:rPr lang="en-IN" dirty="0"/>
              <a:t>Search Algorithms used </a:t>
            </a:r>
          </a:p>
        </p:txBody>
      </p:sp>
      <p:graphicFrame>
        <p:nvGraphicFramePr>
          <p:cNvPr id="4" name="Table 3">
            <a:extLst>
              <a:ext uri="{FF2B5EF4-FFF2-40B4-BE49-F238E27FC236}">
                <a16:creationId xmlns:a16="http://schemas.microsoft.com/office/drawing/2014/main" id="{D75B8076-98F6-476A-2ACB-8DE09ED353FF}"/>
              </a:ext>
            </a:extLst>
          </p:cNvPr>
          <p:cNvGraphicFramePr>
            <a:graphicFrameLocks noGrp="1"/>
          </p:cNvGraphicFramePr>
          <p:nvPr>
            <p:extLst>
              <p:ext uri="{D42A27DB-BD31-4B8C-83A1-F6EECF244321}">
                <p14:modId xmlns:p14="http://schemas.microsoft.com/office/powerpoint/2010/main" val="315258520"/>
              </p:ext>
            </p:extLst>
          </p:nvPr>
        </p:nvGraphicFramePr>
        <p:xfrm>
          <a:off x="404813" y="990600"/>
          <a:ext cx="11438847" cy="5472112"/>
        </p:xfrm>
        <a:graphic>
          <a:graphicData uri="http://schemas.openxmlformats.org/drawingml/2006/table">
            <a:tbl>
              <a:tblPr/>
              <a:tblGrid>
                <a:gridCol w="1634121">
                  <a:extLst>
                    <a:ext uri="{9D8B030D-6E8A-4147-A177-3AD203B41FA5}">
                      <a16:colId xmlns:a16="http://schemas.microsoft.com/office/drawing/2014/main" val="2720186462"/>
                    </a:ext>
                  </a:extLst>
                </a:gridCol>
                <a:gridCol w="1634121">
                  <a:extLst>
                    <a:ext uri="{9D8B030D-6E8A-4147-A177-3AD203B41FA5}">
                      <a16:colId xmlns:a16="http://schemas.microsoft.com/office/drawing/2014/main" val="3907489566"/>
                    </a:ext>
                  </a:extLst>
                </a:gridCol>
                <a:gridCol w="1634121">
                  <a:extLst>
                    <a:ext uri="{9D8B030D-6E8A-4147-A177-3AD203B41FA5}">
                      <a16:colId xmlns:a16="http://schemas.microsoft.com/office/drawing/2014/main" val="2509818711"/>
                    </a:ext>
                  </a:extLst>
                </a:gridCol>
                <a:gridCol w="1634121">
                  <a:extLst>
                    <a:ext uri="{9D8B030D-6E8A-4147-A177-3AD203B41FA5}">
                      <a16:colId xmlns:a16="http://schemas.microsoft.com/office/drawing/2014/main" val="1214272261"/>
                    </a:ext>
                  </a:extLst>
                </a:gridCol>
                <a:gridCol w="1634121">
                  <a:extLst>
                    <a:ext uri="{9D8B030D-6E8A-4147-A177-3AD203B41FA5}">
                      <a16:colId xmlns:a16="http://schemas.microsoft.com/office/drawing/2014/main" val="913559814"/>
                    </a:ext>
                  </a:extLst>
                </a:gridCol>
                <a:gridCol w="1634121">
                  <a:extLst>
                    <a:ext uri="{9D8B030D-6E8A-4147-A177-3AD203B41FA5}">
                      <a16:colId xmlns:a16="http://schemas.microsoft.com/office/drawing/2014/main" val="680692577"/>
                    </a:ext>
                  </a:extLst>
                </a:gridCol>
                <a:gridCol w="1634121">
                  <a:extLst>
                    <a:ext uri="{9D8B030D-6E8A-4147-A177-3AD203B41FA5}">
                      <a16:colId xmlns:a16="http://schemas.microsoft.com/office/drawing/2014/main" val="3308999696"/>
                    </a:ext>
                  </a:extLst>
                </a:gridCol>
              </a:tblGrid>
              <a:tr h="164398">
                <a:tc>
                  <a:txBody>
                    <a:bodyPr/>
                    <a:lstStyle/>
                    <a:p>
                      <a:r>
                        <a:rPr lang="en-IN" sz="900" dirty="0"/>
                        <a:t>Algorithm</a:t>
                      </a:r>
                    </a:p>
                  </a:txBody>
                  <a:tcPr marL="22041" marR="22041" marT="11021" marB="11021" anchor="ctr">
                    <a:lnL>
                      <a:noFill/>
                    </a:lnL>
                    <a:lnR>
                      <a:noFill/>
                    </a:lnR>
                    <a:lnT>
                      <a:noFill/>
                    </a:lnT>
                    <a:lnB>
                      <a:noFill/>
                    </a:lnB>
                    <a:noFill/>
                  </a:tcPr>
                </a:tc>
                <a:tc>
                  <a:txBody>
                    <a:bodyPr/>
                    <a:lstStyle/>
                    <a:p>
                      <a:r>
                        <a:rPr lang="en-IN" sz="900"/>
                        <a:t>Key Concept</a:t>
                      </a:r>
                    </a:p>
                  </a:txBody>
                  <a:tcPr marL="22041" marR="22041" marT="11021" marB="11021" anchor="ctr">
                    <a:lnL>
                      <a:noFill/>
                    </a:lnL>
                    <a:lnR>
                      <a:noFill/>
                    </a:lnR>
                    <a:lnT>
                      <a:noFill/>
                    </a:lnT>
                    <a:lnB>
                      <a:noFill/>
                    </a:lnB>
                    <a:noFill/>
                  </a:tcPr>
                </a:tc>
                <a:tc>
                  <a:txBody>
                    <a:bodyPr/>
                    <a:lstStyle/>
                    <a:p>
                      <a:r>
                        <a:rPr lang="en-IN" sz="900"/>
                        <a:t>Parameters</a:t>
                      </a:r>
                    </a:p>
                  </a:txBody>
                  <a:tcPr marL="22041" marR="22041" marT="11021" marB="11021" anchor="ctr">
                    <a:lnL>
                      <a:noFill/>
                    </a:lnL>
                    <a:lnR>
                      <a:noFill/>
                    </a:lnR>
                    <a:lnT>
                      <a:noFill/>
                    </a:lnT>
                    <a:lnB>
                      <a:noFill/>
                    </a:lnB>
                    <a:noFill/>
                  </a:tcPr>
                </a:tc>
                <a:tc>
                  <a:txBody>
                    <a:bodyPr/>
                    <a:lstStyle/>
                    <a:p>
                      <a:r>
                        <a:rPr lang="en-IN" sz="900"/>
                        <a:t>Strengths</a:t>
                      </a:r>
                    </a:p>
                  </a:txBody>
                  <a:tcPr marL="22041" marR="22041" marT="11021" marB="11021" anchor="ctr">
                    <a:lnL>
                      <a:noFill/>
                    </a:lnL>
                    <a:lnR>
                      <a:noFill/>
                    </a:lnR>
                    <a:lnT>
                      <a:noFill/>
                    </a:lnT>
                    <a:lnB>
                      <a:noFill/>
                    </a:lnB>
                    <a:noFill/>
                  </a:tcPr>
                </a:tc>
                <a:tc>
                  <a:txBody>
                    <a:bodyPr/>
                    <a:lstStyle/>
                    <a:p>
                      <a:r>
                        <a:rPr lang="en-IN" sz="900"/>
                        <a:t>Limitations</a:t>
                      </a:r>
                    </a:p>
                  </a:txBody>
                  <a:tcPr marL="22041" marR="22041" marT="11021" marB="11021" anchor="ctr">
                    <a:lnL>
                      <a:noFill/>
                    </a:lnL>
                    <a:lnR>
                      <a:noFill/>
                    </a:lnR>
                    <a:lnT>
                      <a:noFill/>
                    </a:lnT>
                    <a:lnB>
                      <a:noFill/>
                    </a:lnB>
                    <a:noFill/>
                  </a:tcPr>
                </a:tc>
                <a:tc>
                  <a:txBody>
                    <a:bodyPr/>
                    <a:lstStyle/>
                    <a:p>
                      <a:r>
                        <a:rPr lang="en-IN" sz="900"/>
                        <a:t>Best Use Cases</a:t>
                      </a:r>
                    </a:p>
                  </a:txBody>
                  <a:tcPr marL="22041" marR="22041" marT="11021" marB="11021" anchor="ctr">
                    <a:lnL>
                      <a:noFill/>
                    </a:lnL>
                    <a:lnR>
                      <a:noFill/>
                    </a:lnR>
                    <a:lnT>
                      <a:noFill/>
                    </a:lnT>
                    <a:lnB>
                      <a:noFill/>
                    </a:lnB>
                    <a:noFill/>
                  </a:tcPr>
                </a:tc>
                <a:tc>
                  <a:txBody>
                    <a:bodyPr/>
                    <a:lstStyle/>
                    <a:p>
                      <a:r>
                        <a:rPr lang="en-IN" sz="900"/>
                        <a:t>Time Complexity</a:t>
                      </a:r>
                    </a:p>
                  </a:txBody>
                  <a:tcPr marL="22041" marR="22041" marT="11021" marB="11021" anchor="ctr">
                    <a:lnL>
                      <a:noFill/>
                    </a:lnL>
                    <a:lnR>
                      <a:noFill/>
                    </a:lnR>
                    <a:lnT>
                      <a:noFill/>
                    </a:lnT>
                    <a:lnB>
                      <a:noFill/>
                    </a:lnB>
                    <a:noFill/>
                  </a:tcPr>
                </a:tc>
                <a:extLst>
                  <a:ext uri="{0D108BD9-81ED-4DB2-BD59-A6C34878D82A}">
                    <a16:rowId xmlns:a16="http://schemas.microsoft.com/office/drawing/2014/main" val="678140170"/>
                  </a:ext>
                </a:extLst>
              </a:tr>
              <a:tr h="1362156">
                <a:tc>
                  <a:txBody>
                    <a:bodyPr/>
                    <a:lstStyle/>
                    <a:p>
                      <a:r>
                        <a:rPr lang="en-IN" sz="900" b="1" dirty="0"/>
                        <a:t>FAISS </a:t>
                      </a:r>
                      <a:endParaRPr lang="en-IN" sz="900" dirty="0"/>
                    </a:p>
                  </a:txBody>
                  <a:tcPr marL="22041" marR="22041" marT="11021" marB="11021" anchor="ctr">
                    <a:lnL>
                      <a:noFill/>
                    </a:lnL>
                    <a:lnR>
                      <a:noFill/>
                    </a:lnR>
                    <a:lnT>
                      <a:noFill/>
                    </a:lnT>
                    <a:lnB>
                      <a:noFill/>
                    </a:lnB>
                    <a:noFill/>
                  </a:tcPr>
                </a:tc>
                <a:tc>
                  <a:txBody>
                    <a:bodyPr/>
                    <a:lstStyle/>
                    <a:p>
                      <a:r>
                        <a:rPr lang="en-US" sz="900"/>
                        <a:t>Flat indexing with exact search using cosine similarity or L2 distance</a:t>
                      </a:r>
                    </a:p>
                  </a:txBody>
                  <a:tcPr marL="22041" marR="22041" marT="11021" marB="11021" anchor="ctr">
                    <a:lnL>
                      <a:noFill/>
                    </a:lnL>
                    <a:lnR>
                      <a:noFill/>
                    </a:lnR>
                    <a:lnT>
                      <a:noFill/>
                    </a:lnT>
                    <a:lnB>
                      <a:noFill/>
                    </a:lnB>
                    <a:noFill/>
                  </a:tcPr>
                </a:tc>
                <a:tc>
                  <a:txBody>
                    <a:bodyPr/>
                    <a:lstStyle/>
                    <a:p>
                      <a:r>
                        <a:rPr lang="en-IN" sz="900" dirty="0"/>
                        <a:t>• Vector dimension • Metric type (cosine/L2) • Quantization parameters</a:t>
                      </a:r>
                    </a:p>
                  </a:txBody>
                  <a:tcPr marL="22041" marR="22041" marT="11021" marB="11021" anchor="ctr">
                    <a:lnL>
                      <a:noFill/>
                    </a:lnL>
                    <a:lnR>
                      <a:noFill/>
                    </a:lnR>
                    <a:lnT>
                      <a:noFill/>
                    </a:lnT>
                    <a:lnB>
                      <a:noFill/>
                    </a:lnB>
                    <a:noFill/>
                  </a:tcPr>
                </a:tc>
                <a:tc>
                  <a:txBody>
                    <a:bodyPr/>
                    <a:lstStyle/>
                    <a:p>
                      <a:r>
                        <a:rPr lang="en-US" sz="900" dirty="0"/>
                        <a:t>• Highly optimized C++ implementation • GPU acceleration support • Excellent performance characteristics • Supports both exact and approximate search • Parallel computation capability</a:t>
                      </a:r>
                    </a:p>
                  </a:txBody>
                  <a:tcPr marL="22041" marR="22041" marT="11021" marB="11021" anchor="ctr">
                    <a:lnL>
                      <a:noFill/>
                    </a:lnL>
                    <a:lnR>
                      <a:noFill/>
                    </a:lnR>
                    <a:lnT>
                      <a:noFill/>
                    </a:lnT>
                    <a:lnB>
                      <a:noFill/>
                    </a:lnB>
                    <a:noFill/>
                  </a:tcPr>
                </a:tc>
                <a:tc>
                  <a:txBody>
                    <a:bodyPr/>
                    <a:lstStyle/>
                    <a:p>
                      <a:r>
                        <a:rPr lang="en-US" sz="900" dirty="0"/>
                        <a:t>• Memory intensive for large datasets • Linear search time for flat indices • Requires vectors to be normalized for cosine similarity</a:t>
                      </a:r>
                    </a:p>
                  </a:txBody>
                  <a:tcPr marL="22041" marR="22041" marT="11021" marB="11021" anchor="ctr">
                    <a:lnL>
                      <a:noFill/>
                    </a:lnL>
                    <a:lnR>
                      <a:noFill/>
                    </a:lnR>
                    <a:lnT>
                      <a:noFill/>
                    </a:lnT>
                    <a:lnB>
                      <a:noFill/>
                    </a:lnB>
                    <a:noFill/>
                  </a:tcPr>
                </a:tc>
                <a:tc>
                  <a:txBody>
                    <a:bodyPr/>
                    <a:lstStyle/>
                    <a:p>
                      <a:r>
                        <a:rPr lang="en-US" sz="900" dirty="0"/>
                        <a:t>• Smaller datasets requiring exact results • Applications with GPU availability • When accuracy is more important than speed • Benchmark/baseline for other algorithms</a:t>
                      </a:r>
                    </a:p>
                  </a:txBody>
                  <a:tcPr marL="22041" marR="22041" marT="11021" marB="11021" anchor="ctr">
                    <a:lnL>
                      <a:noFill/>
                    </a:lnL>
                    <a:lnR>
                      <a:noFill/>
                    </a:lnR>
                    <a:lnT>
                      <a:noFill/>
                    </a:lnT>
                    <a:lnB>
                      <a:noFill/>
                    </a:lnB>
                    <a:noFill/>
                  </a:tcPr>
                </a:tc>
                <a:tc>
                  <a:txBody>
                    <a:bodyPr/>
                    <a:lstStyle/>
                    <a:p>
                      <a:r>
                        <a:rPr lang="en-US" sz="900"/>
                        <a:t>O(n × d) where n = number of vectors, d = dimension</a:t>
                      </a:r>
                    </a:p>
                  </a:txBody>
                  <a:tcPr marL="22041" marR="22041" marT="11021" marB="11021" anchor="ctr">
                    <a:lnL>
                      <a:noFill/>
                    </a:lnL>
                    <a:lnR>
                      <a:noFill/>
                    </a:lnR>
                    <a:lnT>
                      <a:noFill/>
                    </a:lnT>
                    <a:lnB>
                      <a:noFill/>
                    </a:lnB>
                    <a:noFill/>
                  </a:tcPr>
                </a:tc>
                <a:extLst>
                  <a:ext uri="{0D108BD9-81ED-4DB2-BD59-A6C34878D82A}">
                    <a16:rowId xmlns:a16="http://schemas.microsoft.com/office/drawing/2014/main" val="1851631984"/>
                  </a:ext>
                </a:extLst>
              </a:tr>
              <a:tr h="1432614">
                <a:tc>
                  <a:txBody>
                    <a:bodyPr/>
                    <a:lstStyle/>
                    <a:p>
                      <a:r>
                        <a:rPr lang="en-IN" sz="900" b="1"/>
                        <a:t>HNSW</a:t>
                      </a:r>
                      <a:endParaRPr lang="en-IN" sz="900"/>
                    </a:p>
                  </a:txBody>
                  <a:tcPr marL="22041" marR="22041" marT="11021" marB="11021" anchor="ctr">
                    <a:lnL>
                      <a:noFill/>
                    </a:lnL>
                    <a:lnR>
                      <a:noFill/>
                    </a:lnR>
                    <a:lnT>
                      <a:noFill/>
                    </a:lnT>
                    <a:lnB>
                      <a:noFill/>
                    </a:lnB>
                    <a:noFill/>
                  </a:tcPr>
                </a:tc>
                <a:tc>
                  <a:txBody>
                    <a:bodyPr/>
                    <a:lstStyle/>
                    <a:p>
                      <a:r>
                        <a:rPr lang="en-US" sz="900"/>
                        <a:t>Hierarchical Navigable Small World graphs with layered navigation structure</a:t>
                      </a:r>
                    </a:p>
                  </a:txBody>
                  <a:tcPr marL="22041" marR="22041" marT="11021" marB="11021" anchor="ctr">
                    <a:lnL>
                      <a:noFill/>
                    </a:lnL>
                    <a:lnR>
                      <a:noFill/>
                    </a:lnR>
                    <a:lnT>
                      <a:noFill/>
                    </a:lnT>
                    <a:lnB>
                      <a:noFill/>
                    </a:lnB>
                    <a:noFill/>
                  </a:tcPr>
                </a:tc>
                <a:tc>
                  <a:txBody>
                    <a:bodyPr/>
                    <a:lstStyle/>
                    <a:p>
                      <a:r>
                        <a:rPr lang="en-US" sz="900" dirty="0"/>
                        <a:t>• M: Number of connections per layer (default: 32) • </a:t>
                      </a:r>
                      <a:r>
                        <a:rPr lang="en-US" sz="900" dirty="0" err="1"/>
                        <a:t>ef_construction</a:t>
                      </a:r>
                      <a:r>
                        <a:rPr lang="en-US" sz="900" dirty="0"/>
                        <a:t>: Size of dynamic candidate list for construction (default: 200) • </a:t>
                      </a:r>
                      <a:r>
                        <a:rPr lang="en-US" sz="900" dirty="0" err="1"/>
                        <a:t>ef_search</a:t>
                      </a:r>
                      <a:r>
                        <a:rPr lang="en-US" sz="900" dirty="0"/>
                        <a:t>: Size of dynamic candidate list for search (default: 128)</a:t>
                      </a:r>
                    </a:p>
                  </a:txBody>
                  <a:tcPr marL="22041" marR="22041" marT="11021" marB="11021" anchor="ctr">
                    <a:lnL>
                      <a:noFill/>
                    </a:lnL>
                    <a:lnR>
                      <a:noFill/>
                    </a:lnR>
                    <a:lnT>
                      <a:noFill/>
                    </a:lnT>
                    <a:lnB>
                      <a:noFill/>
                    </a:lnB>
                    <a:noFill/>
                  </a:tcPr>
                </a:tc>
                <a:tc>
                  <a:txBody>
                    <a:bodyPr/>
                    <a:lstStyle/>
                    <a:p>
                      <a:r>
                        <a:rPr lang="en-US" sz="900" dirty="0"/>
                        <a:t>• Very high recall in practice • Efficient search in logarithmic time • Good balance of accuracy and speed • State-of-the-art for practical applications • Excellent performance-to-memory ratio</a:t>
                      </a:r>
                    </a:p>
                  </a:txBody>
                  <a:tcPr marL="22041" marR="22041" marT="11021" marB="11021" anchor="ctr">
                    <a:lnL>
                      <a:noFill/>
                    </a:lnL>
                    <a:lnR>
                      <a:noFill/>
                    </a:lnR>
                    <a:lnT>
                      <a:noFill/>
                    </a:lnT>
                    <a:lnB>
                      <a:noFill/>
                    </a:lnB>
                    <a:noFill/>
                  </a:tcPr>
                </a:tc>
                <a:tc>
                  <a:txBody>
                    <a:bodyPr/>
                    <a:lstStyle/>
                    <a:p>
                      <a:r>
                        <a:rPr lang="en-US" sz="900" dirty="0"/>
                        <a:t>• High memory usage per vector • Complex index construction • Non-trivial to distribute • Performance depends on parameter tuning</a:t>
                      </a:r>
                    </a:p>
                  </a:txBody>
                  <a:tcPr marL="22041" marR="22041" marT="11021" marB="11021" anchor="ctr">
                    <a:lnL>
                      <a:noFill/>
                    </a:lnL>
                    <a:lnR>
                      <a:noFill/>
                    </a:lnR>
                    <a:lnT>
                      <a:noFill/>
                    </a:lnT>
                    <a:lnB>
                      <a:noFill/>
                    </a:lnB>
                    <a:noFill/>
                  </a:tcPr>
                </a:tc>
                <a:tc>
                  <a:txBody>
                    <a:bodyPr/>
                    <a:lstStyle/>
                    <a:p>
                      <a:r>
                        <a:rPr lang="en-US" sz="900" dirty="0"/>
                        <a:t>• Production systems requiring speed and accuracy • Medium to large-scale vector search • When index construction time isn't critical • When memory constraints aren't severe</a:t>
                      </a:r>
                    </a:p>
                  </a:txBody>
                  <a:tcPr marL="22041" marR="22041" marT="11021" marB="11021" anchor="ctr">
                    <a:lnL>
                      <a:noFill/>
                    </a:lnL>
                    <a:lnR>
                      <a:noFill/>
                    </a:lnR>
                    <a:lnT>
                      <a:noFill/>
                    </a:lnT>
                    <a:lnB>
                      <a:noFill/>
                    </a:lnB>
                    <a:noFill/>
                  </a:tcPr>
                </a:tc>
                <a:tc>
                  <a:txBody>
                    <a:bodyPr/>
                    <a:lstStyle/>
                    <a:p>
                      <a:r>
                        <a:rPr lang="pt-BR" sz="900" dirty="0"/>
                        <a:t>Construction: O(n log n) Search: O(log n)</a:t>
                      </a:r>
                    </a:p>
                  </a:txBody>
                  <a:tcPr marL="22041" marR="22041" marT="11021" marB="11021" anchor="ctr">
                    <a:lnL>
                      <a:noFill/>
                    </a:lnL>
                    <a:lnR>
                      <a:noFill/>
                    </a:lnR>
                    <a:lnT>
                      <a:noFill/>
                    </a:lnT>
                    <a:lnB>
                      <a:noFill/>
                    </a:lnB>
                    <a:noFill/>
                  </a:tcPr>
                </a:tc>
                <a:extLst>
                  <a:ext uri="{0D108BD9-81ED-4DB2-BD59-A6C34878D82A}">
                    <a16:rowId xmlns:a16="http://schemas.microsoft.com/office/drawing/2014/main" val="4010278656"/>
                  </a:ext>
                </a:extLst>
              </a:tr>
              <a:tr h="1221244">
                <a:tc>
                  <a:txBody>
                    <a:bodyPr/>
                    <a:lstStyle/>
                    <a:p>
                      <a:r>
                        <a:rPr lang="en-IN" sz="900" b="1"/>
                        <a:t>Brute Force</a:t>
                      </a:r>
                      <a:endParaRPr lang="en-IN" sz="900"/>
                    </a:p>
                  </a:txBody>
                  <a:tcPr marL="22041" marR="22041" marT="11021" marB="11021" anchor="ctr">
                    <a:lnL>
                      <a:noFill/>
                    </a:lnL>
                    <a:lnR>
                      <a:noFill/>
                    </a:lnR>
                    <a:lnT>
                      <a:noFill/>
                    </a:lnT>
                    <a:lnB>
                      <a:noFill/>
                    </a:lnB>
                    <a:noFill/>
                  </a:tcPr>
                </a:tc>
                <a:tc>
                  <a:txBody>
                    <a:bodyPr/>
                    <a:lstStyle/>
                    <a:p>
                      <a:r>
                        <a:rPr lang="en-US" sz="900"/>
                        <a:t>Calculate similarity against all vectors in the dataset</a:t>
                      </a:r>
                    </a:p>
                  </a:txBody>
                  <a:tcPr marL="22041" marR="22041" marT="11021" marB="11021" anchor="ctr">
                    <a:lnL>
                      <a:noFill/>
                    </a:lnL>
                    <a:lnR>
                      <a:noFill/>
                    </a:lnR>
                    <a:lnT>
                      <a:noFill/>
                    </a:lnT>
                    <a:lnB>
                      <a:noFill/>
                    </a:lnB>
                    <a:noFill/>
                  </a:tcPr>
                </a:tc>
                <a:tc>
                  <a:txBody>
                    <a:bodyPr/>
                    <a:lstStyle/>
                    <a:p>
                      <a:r>
                        <a:rPr lang="en-US" sz="900" dirty="0"/>
                        <a:t>• Metric type (cosine/L2) • Batch size for computation</a:t>
                      </a:r>
                    </a:p>
                  </a:txBody>
                  <a:tcPr marL="22041" marR="22041" marT="11021" marB="11021" anchor="ctr">
                    <a:lnL>
                      <a:noFill/>
                    </a:lnL>
                    <a:lnR>
                      <a:noFill/>
                    </a:lnR>
                    <a:lnT>
                      <a:noFill/>
                    </a:lnT>
                    <a:lnB>
                      <a:noFill/>
                    </a:lnB>
                    <a:noFill/>
                  </a:tcPr>
                </a:tc>
                <a:tc>
                  <a:txBody>
                    <a:bodyPr/>
                    <a:lstStyle/>
                    <a:p>
                      <a:r>
                        <a:rPr lang="en-US" sz="900" dirty="0"/>
                        <a:t>• 100% accuracy (no approximations) • Simple implementation • No preprocessing required • Reliable for small datasets • Conceptually straightforward</a:t>
                      </a:r>
                    </a:p>
                  </a:txBody>
                  <a:tcPr marL="22041" marR="22041" marT="11021" marB="11021" anchor="ctr">
                    <a:lnL>
                      <a:noFill/>
                    </a:lnL>
                    <a:lnR>
                      <a:noFill/>
                    </a:lnR>
                    <a:lnT>
                      <a:noFill/>
                    </a:lnT>
                    <a:lnB>
                      <a:noFill/>
                    </a:lnB>
                    <a:noFill/>
                  </a:tcPr>
                </a:tc>
                <a:tc>
                  <a:txBody>
                    <a:bodyPr/>
                    <a:lstStyle/>
                    <a:p>
                      <a:r>
                        <a:rPr lang="en-US" sz="900" dirty="0"/>
                        <a:t>• Extremely slow for large datasets • Linear scaling with dataset size • Resource intensive for high dimensions • Not feasible for real-time applications at scale</a:t>
                      </a:r>
                    </a:p>
                  </a:txBody>
                  <a:tcPr marL="22041" marR="22041" marT="11021" marB="11021" anchor="ctr">
                    <a:lnL>
                      <a:noFill/>
                    </a:lnL>
                    <a:lnR>
                      <a:noFill/>
                    </a:lnR>
                    <a:lnT>
                      <a:noFill/>
                    </a:lnT>
                    <a:lnB>
                      <a:noFill/>
                    </a:lnB>
                    <a:noFill/>
                  </a:tcPr>
                </a:tc>
                <a:tc>
                  <a:txBody>
                    <a:bodyPr/>
                    <a:lstStyle/>
                    <a:p>
                      <a:r>
                        <a:rPr lang="en-US" sz="900" dirty="0"/>
                        <a:t>• Tiny datasets (&lt; 10,000 vectors) • Testing and development • Verifying results of approximate methods • Academic/educational purposes</a:t>
                      </a:r>
                    </a:p>
                  </a:txBody>
                  <a:tcPr marL="22041" marR="22041" marT="11021" marB="11021" anchor="ctr">
                    <a:lnL>
                      <a:noFill/>
                    </a:lnL>
                    <a:lnR>
                      <a:noFill/>
                    </a:lnR>
                    <a:lnT>
                      <a:noFill/>
                    </a:lnT>
                    <a:lnB>
                      <a:noFill/>
                    </a:lnB>
                    <a:noFill/>
                  </a:tcPr>
                </a:tc>
                <a:tc>
                  <a:txBody>
                    <a:bodyPr/>
                    <a:lstStyle/>
                    <a:p>
                      <a:r>
                        <a:rPr lang="en-US" sz="900"/>
                        <a:t>O(n × d) where n = number of vectors, d = dimension</a:t>
                      </a:r>
                    </a:p>
                  </a:txBody>
                  <a:tcPr marL="22041" marR="22041" marT="11021" marB="11021" anchor="ctr">
                    <a:lnL>
                      <a:noFill/>
                    </a:lnL>
                    <a:lnR>
                      <a:noFill/>
                    </a:lnR>
                    <a:lnT>
                      <a:noFill/>
                    </a:lnT>
                    <a:lnB>
                      <a:noFill/>
                    </a:lnB>
                    <a:noFill/>
                  </a:tcPr>
                </a:tc>
                <a:extLst>
                  <a:ext uri="{0D108BD9-81ED-4DB2-BD59-A6C34878D82A}">
                    <a16:rowId xmlns:a16="http://schemas.microsoft.com/office/drawing/2014/main" val="2041837144"/>
                  </a:ext>
                </a:extLst>
              </a:tr>
              <a:tr h="1291700">
                <a:tc>
                  <a:txBody>
                    <a:bodyPr/>
                    <a:lstStyle/>
                    <a:p>
                      <a:r>
                        <a:rPr lang="en-IN" sz="900" b="1"/>
                        <a:t>ANNOY</a:t>
                      </a:r>
                      <a:endParaRPr lang="en-IN" sz="900"/>
                    </a:p>
                  </a:txBody>
                  <a:tcPr marL="22041" marR="22041" marT="11021" marB="11021" anchor="ctr">
                    <a:lnL>
                      <a:noFill/>
                    </a:lnL>
                    <a:lnR>
                      <a:noFill/>
                    </a:lnR>
                    <a:lnT>
                      <a:noFill/>
                    </a:lnT>
                    <a:lnB>
                      <a:noFill/>
                    </a:lnB>
                    <a:noFill/>
                  </a:tcPr>
                </a:tc>
                <a:tc>
                  <a:txBody>
                    <a:bodyPr/>
                    <a:lstStyle/>
                    <a:p>
                      <a:r>
                        <a:rPr lang="en-US" sz="900"/>
                        <a:t>Approximate nearest neighbors with random projections using forest of binary trees</a:t>
                      </a:r>
                    </a:p>
                  </a:txBody>
                  <a:tcPr marL="22041" marR="22041" marT="11021" marB="11021" anchor="ctr">
                    <a:lnL>
                      <a:noFill/>
                    </a:lnL>
                    <a:lnR>
                      <a:noFill/>
                    </a:lnR>
                    <a:lnT>
                      <a:noFill/>
                    </a:lnT>
                    <a:lnB>
                      <a:noFill/>
                    </a:lnB>
                    <a:noFill/>
                  </a:tcPr>
                </a:tc>
                <a:tc>
                  <a:txBody>
                    <a:bodyPr/>
                    <a:lstStyle/>
                    <a:p>
                      <a:r>
                        <a:rPr lang="en-US" sz="900" dirty="0"/>
                        <a:t>• metric: "angular" (cosine) or "</a:t>
                      </a:r>
                      <a:r>
                        <a:rPr lang="en-US" sz="900" dirty="0" err="1"/>
                        <a:t>euclidean</a:t>
                      </a:r>
                      <a:r>
                        <a:rPr lang="en-US" sz="900" dirty="0"/>
                        <a:t>" • </a:t>
                      </a:r>
                      <a:r>
                        <a:rPr lang="en-US" sz="900" dirty="0" err="1"/>
                        <a:t>n_trees</a:t>
                      </a:r>
                      <a:r>
                        <a:rPr lang="en-US" sz="900" dirty="0"/>
                        <a:t>: Number of trees for forest (higher = more accurate but slower) • </a:t>
                      </a:r>
                      <a:r>
                        <a:rPr lang="en-US" sz="900" dirty="0" err="1"/>
                        <a:t>search_k</a:t>
                      </a:r>
                      <a:r>
                        <a:rPr lang="en-US" sz="900" dirty="0"/>
                        <a:t>: Number of nodes to explore (memory vs speed tradeoff)</a:t>
                      </a:r>
                    </a:p>
                  </a:txBody>
                  <a:tcPr marL="22041" marR="22041" marT="11021" marB="11021" anchor="ctr">
                    <a:lnL>
                      <a:noFill/>
                    </a:lnL>
                    <a:lnR>
                      <a:noFill/>
                    </a:lnR>
                    <a:lnT>
                      <a:noFill/>
                    </a:lnT>
                    <a:lnB>
                      <a:noFill/>
                    </a:lnB>
                    <a:noFill/>
                  </a:tcPr>
                </a:tc>
                <a:tc>
                  <a:txBody>
                    <a:bodyPr/>
                    <a:lstStyle/>
                    <a:p>
                      <a:r>
                        <a:rPr lang="en-US" sz="900" dirty="0"/>
                        <a:t>• Memory-efficient with </a:t>
                      </a:r>
                      <a:r>
                        <a:rPr lang="en-US" sz="900" dirty="0" err="1"/>
                        <a:t>mmap</a:t>
                      </a:r>
                      <a:r>
                        <a:rPr lang="en-US" sz="900" dirty="0"/>
                        <a:t> support • Good performance for static datasets • Balance of speed and accuracy • Simple API and implementation • Persistent index files</a:t>
                      </a:r>
                    </a:p>
                  </a:txBody>
                  <a:tcPr marL="22041" marR="22041" marT="11021" marB="11021" anchor="ctr">
                    <a:lnL>
                      <a:noFill/>
                    </a:lnL>
                    <a:lnR>
                      <a:noFill/>
                    </a:lnR>
                    <a:lnT>
                      <a:noFill/>
                    </a:lnT>
                    <a:lnB>
                      <a:noFill/>
                    </a:lnB>
                    <a:noFill/>
                  </a:tcPr>
                </a:tc>
                <a:tc>
                  <a:txBody>
                    <a:bodyPr/>
                    <a:lstStyle/>
                    <a:p>
                      <a:r>
                        <a:rPr lang="en-US" sz="900" dirty="0"/>
                        <a:t>• Not optimal for dynamic datasets • Lower recall than HNSW at same speed • Index must be built from scratch if data changes • Limited distance metrics</a:t>
                      </a:r>
                    </a:p>
                  </a:txBody>
                  <a:tcPr marL="22041" marR="22041" marT="11021" marB="11021" anchor="ctr">
                    <a:lnL>
                      <a:noFill/>
                    </a:lnL>
                    <a:lnR>
                      <a:noFill/>
                    </a:lnR>
                    <a:lnT>
                      <a:noFill/>
                    </a:lnT>
                    <a:lnB>
                      <a:noFill/>
                    </a:lnB>
                    <a:noFill/>
                  </a:tcPr>
                </a:tc>
                <a:tc>
                  <a:txBody>
                    <a:bodyPr/>
                    <a:lstStyle/>
                    <a:p>
                      <a:r>
                        <a:rPr lang="en-US" sz="900" dirty="0"/>
                        <a:t>• Static datasets that rarely change • Memory-constrained environments • Applications requiring disk-based indices • Recommendation systems with moderate accuracy needs</a:t>
                      </a:r>
                    </a:p>
                  </a:txBody>
                  <a:tcPr marL="22041" marR="22041" marT="11021" marB="11021" anchor="ctr">
                    <a:lnL>
                      <a:noFill/>
                    </a:lnL>
                    <a:lnR>
                      <a:noFill/>
                    </a:lnR>
                    <a:lnT>
                      <a:noFill/>
                    </a:lnT>
                    <a:lnB>
                      <a:noFill/>
                    </a:lnB>
                    <a:noFill/>
                  </a:tcPr>
                </a:tc>
                <a:tc>
                  <a:txBody>
                    <a:bodyPr/>
                    <a:lstStyle/>
                    <a:p>
                      <a:r>
                        <a:rPr lang="pt-BR" sz="900" dirty="0"/>
                        <a:t>Construction: O(n log n) Search: O(log n)</a:t>
                      </a:r>
                    </a:p>
                  </a:txBody>
                  <a:tcPr marL="22041" marR="22041" marT="11021" marB="11021" anchor="ctr">
                    <a:lnL>
                      <a:noFill/>
                    </a:lnL>
                    <a:lnR>
                      <a:noFill/>
                    </a:lnR>
                    <a:lnT>
                      <a:noFill/>
                    </a:lnT>
                    <a:lnB>
                      <a:noFill/>
                    </a:lnB>
                    <a:noFill/>
                  </a:tcPr>
                </a:tc>
                <a:extLst>
                  <a:ext uri="{0D108BD9-81ED-4DB2-BD59-A6C34878D82A}">
                    <a16:rowId xmlns:a16="http://schemas.microsoft.com/office/drawing/2014/main" val="3016964942"/>
                  </a:ext>
                </a:extLst>
              </a:tr>
            </a:tbl>
          </a:graphicData>
        </a:graphic>
      </p:graphicFrame>
    </p:spTree>
    <p:extLst>
      <p:ext uri="{BB962C8B-B14F-4D97-AF65-F5344CB8AC3E}">
        <p14:creationId xmlns:p14="http://schemas.microsoft.com/office/powerpoint/2010/main" val="40563992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F42AA-AB05-DFC1-BE49-4E0BC268EB84}"/>
              </a:ext>
            </a:extLst>
          </p:cNvPr>
          <p:cNvSpPr>
            <a:spLocks noGrp="1"/>
          </p:cNvSpPr>
          <p:nvPr>
            <p:ph type="title"/>
          </p:nvPr>
        </p:nvSpPr>
        <p:spPr/>
        <p:txBody>
          <a:bodyPr/>
          <a:lstStyle/>
          <a:p>
            <a:r>
              <a:rPr lang="en-IN" dirty="0"/>
              <a:t>Search Algorithms - Technical Comparison</a:t>
            </a:r>
          </a:p>
        </p:txBody>
      </p:sp>
      <p:graphicFrame>
        <p:nvGraphicFramePr>
          <p:cNvPr id="5" name="Table 4">
            <a:extLst>
              <a:ext uri="{FF2B5EF4-FFF2-40B4-BE49-F238E27FC236}">
                <a16:creationId xmlns:a16="http://schemas.microsoft.com/office/drawing/2014/main" id="{A88CB3F8-D4E9-CE1B-F4EE-BAE132BF0ABA}"/>
              </a:ext>
            </a:extLst>
          </p:cNvPr>
          <p:cNvGraphicFramePr>
            <a:graphicFrameLocks noGrp="1"/>
          </p:cNvGraphicFramePr>
          <p:nvPr>
            <p:extLst>
              <p:ext uri="{D42A27DB-BD31-4B8C-83A1-F6EECF244321}">
                <p14:modId xmlns:p14="http://schemas.microsoft.com/office/powerpoint/2010/main" val="242388621"/>
              </p:ext>
            </p:extLst>
          </p:nvPr>
        </p:nvGraphicFramePr>
        <p:xfrm>
          <a:off x="404814" y="1208314"/>
          <a:ext cx="11351760" cy="5138057"/>
        </p:xfrm>
        <a:graphic>
          <a:graphicData uri="http://schemas.openxmlformats.org/drawingml/2006/table">
            <a:tbl>
              <a:tblPr/>
              <a:tblGrid>
                <a:gridCol w="1621680">
                  <a:extLst>
                    <a:ext uri="{9D8B030D-6E8A-4147-A177-3AD203B41FA5}">
                      <a16:colId xmlns:a16="http://schemas.microsoft.com/office/drawing/2014/main" val="878478380"/>
                    </a:ext>
                  </a:extLst>
                </a:gridCol>
                <a:gridCol w="1621680">
                  <a:extLst>
                    <a:ext uri="{9D8B030D-6E8A-4147-A177-3AD203B41FA5}">
                      <a16:colId xmlns:a16="http://schemas.microsoft.com/office/drawing/2014/main" val="889719646"/>
                    </a:ext>
                  </a:extLst>
                </a:gridCol>
                <a:gridCol w="1621680">
                  <a:extLst>
                    <a:ext uri="{9D8B030D-6E8A-4147-A177-3AD203B41FA5}">
                      <a16:colId xmlns:a16="http://schemas.microsoft.com/office/drawing/2014/main" val="496272469"/>
                    </a:ext>
                  </a:extLst>
                </a:gridCol>
                <a:gridCol w="1621680">
                  <a:extLst>
                    <a:ext uri="{9D8B030D-6E8A-4147-A177-3AD203B41FA5}">
                      <a16:colId xmlns:a16="http://schemas.microsoft.com/office/drawing/2014/main" val="1995338527"/>
                    </a:ext>
                  </a:extLst>
                </a:gridCol>
                <a:gridCol w="1621680">
                  <a:extLst>
                    <a:ext uri="{9D8B030D-6E8A-4147-A177-3AD203B41FA5}">
                      <a16:colId xmlns:a16="http://schemas.microsoft.com/office/drawing/2014/main" val="3234236264"/>
                    </a:ext>
                  </a:extLst>
                </a:gridCol>
                <a:gridCol w="1621680">
                  <a:extLst>
                    <a:ext uri="{9D8B030D-6E8A-4147-A177-3AD203B41FA5}">
                      <a16:colId xmlns:a16="http://schemas.microsoft.com/office/drawing/2014/main" val="2681212569"/>
                    </a:ext>
                  </a:extLst>
                </a:gridCol>
                <a:gridCol w="1621680">
                  <a:extLst>
                    <a:ext uri="{9D8B030D-6E8A-4147-A177-3AD203B41FA5}">
                      <a16:colId xmlns:a16="http://schemas.microsoft.com/office/drawing/2014/main" val="1226337927"/>
                    </a:ext>
                  </a:extLst>
                </a:gridCol>
              </a:tblGrid>
              <a:tr h="1123950">
                <a:tc>
                  <a:txBody>
                    <a:bodyPr/>
                    <a:lstStyle/>
                    <a:p>
                      <a:r>
                        <a:rPr lang="en-IN">
                          <a:solidFill>
                            <a:schemeClr val="bg1"/>
                          </a:solidFill>
                        </a:rPr>
                        <a:t>Algorith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Time Complex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mory Footpri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uild Ti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xact/Approxim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Distance Metric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Incremental Up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3289349"/>
                  </a:ext>
                </a:extLst>
              </a:tr>
              <a:tr h="1123950">
                <a:tc>
                  <a:txBody>
                    <a:bodyPr/>
                    <a:lstStyle/>
                    <a:p>
                      <a:r>
                        <a:rPr lang="en-IN" b="1">
                          <a:solidFill>
                            <a:schemeClr val="bg1"/>
                          </a:solidFill>
                        </a:rPr>
                        <a:t>FAISS Flat</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O(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x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2, Inner Produ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7291838"/>
                  </a:ext>
                </a:extLst>
              </a:tr>
              <a:tr h="1123950">
                <a:tc>
                  <a:txBody>
                    <a:bodyPr/>
                    <a:lstStyle/>
                    <a:p>
                      <a:r>
                        <a:rPr lang="en-IN" b="1">
                          <a:solidFill>
                            <a:schemeClr val="bg1"/>
                          </a:solidFill>
                        </a:rPr>
                        <a:t>HNSW</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O(log 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Approxim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2, Inner Produ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imit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9314099"/>
                  </a:ext>
                </a:extLst>
              </a:tr>
              <a:tr h="642257">
                <a:tc>
                  <a:txBody>
                    <a:bodyPr/>
                    <a:lstStyle/>
                    <a:p>
                      <a:r>
                        <a:rPr lang="en-IN" b="1">
                          <a:solidFill>
                            <a:schemeClr val="bg1"/>
                          </a:solidFill>
                        </a:rPr>
                        <a:t>Brute Force</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O(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x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An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Y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7601325"/>
                  </a:ext>
                </a:extLst>
              </a:tr>
              <a:tr h="1123950">
                <a:tc>
                  <a:txBody>
                    <a:bodyPr/>
                    <a:lstStyle/>
                    <a:p>
                      <a:r>
                        <a:rPr lang="en-IN" b="1">
                          <a:solidFill>
                            <a:schemeClr val="bg1"/>
                          </a:solidFill>
                        </a:rPr>
                        <a:t>Annoy</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O(log 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Approxim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uclidean, Angul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70419372"/>
                  </a:ext>
                </a:extLst>
              </a:tr>
            </a:tbl>
          </a:graphicData>
        </a:graphic>
      </p:graphicFrame>
    </p:spTree>
    <p:extLst>
      <p:ext uri="{BB962C8B-B14F-4D97-AF65-F5344CB8AC3E}">
        <p14:creationId xmlns:p14="http://schemas.microsoft.com/office/powerpoint/2010/main" val="259180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0711A-3B63-78FB-14C8-41013033C147}"/>
              </a:ext>
            </a:extLst>
          </p:cNvPr>
          <p:cNvSpPr>
            <a:spLocks noGrp="1"/>
          </p:cNvSpPr>
          <p:nvPr>
            <p:ph type="title"/>
          </p:nvPr>
        </p:nvSpPr>
        <p:spPr/>
        <p:txBody>
          <a:bodyPr/>
          <a:lstStyle/>
          <a:p>
            <a:r>
              <a:rPr lang="en-IN" dirty="0"/>
              <a:t>Search Algorithms - Performance Benchmarks</a:t>
            </a:r>
          </a:p>
        </p:txBody>
      </p:sp>
      <p:graphicFrame>
        <p:nvGraphicFramePr>
          <p:cNvPr id="4" name="Table 3">
            <a:extLst>
              <a:ext uri="{FF2B5EF4-FFF2-40B4-BE49-F238E27FC236}">
                <a16:creationId xmlns:a16="http://schemas.microsoft.com/office/drawing/2014/main" id="{F492BB92-1535-D64F-0A8D-1707AB5E8796}"/>
              </a:ext>
            </a:extLst>
          </p:cNvPr>
          <p:cNvGraphicFramePr>
            <a:graphicFrameLocks noGrp="1"/>
          </p:cNvGraphicFramePr>
          <p:nvPr>
            <p:extLst>
              <p:ext uri="{D42A27DB-BD31-4B8C-83A1-F6EECF244321}">
                <p14:modId xmlns:p14="http://schemas.microsoft.com/office/powerpoint/2010/main" val="3722056337"/>
              </p:ext>
            </p:extLst>
          </p:nvPr>
        </p:nvGraphicFramePr>
        <p:xfrm>
          <a:off x="404812" y="1306286"/>
          <a:ext cx="11377614" cy="4408715"/>
        </p:xfrm>
        <a:graphic>
          <a:graphicData uri="http://schemas.openxmlformats.org/drawingml/2006/table">
            <a:tbl>
              <a:tblPr/>
              <a:tblGrid>
                <a:gridCol w="1896269">
                  <a:extLst>
                    <a:ext uri="{9D8B030D-6E8A-4147-A177-3AD203B41FA5}">
                      <a16:colId xmlns:a16="http://schemas.microsoft.com/office/drawing/2014/main" val="3486598458"/>
                    </a:ext>
                  </a:extLst>
                </a:gridCol>
                <a:gridCol w="1896269">
                  <a:extLst>
                    <a:ext uri="{9D8B030D-6E8A-4147-A177-3AD203B41FA5}">
                      <a16:colId xmlns:a16="http://schemas.microsoft.com/office/drawing/2014/main" val="419802252"/>
                    </a:ext>
                  </a:extLst>
                </a:gridCol>
                <a:gridCol w="1896269">
                  <a:extLst>
                    <a:ext uri="{9D8B030D-6E8A-4147-A177-3AD203B41FA5}">
                      <a16:colId xmlns:a16="http://schemas.microsoft.com/office/drawing/2014/main" val="3540071936"/>
                    </a:ext>
                  </a:extLst>
                </a:gridCol>
                <a:gridCol w="1896269">
                  <a:extLst>
                    <a:ext uri="{9D8B030D-6E8A-4147-A177-3AD203B41FA5}">
                      <a16:colId xmlns:a16="http://schemas.microsoft.com/office/drawing/2014/main" val="672073392"/>
                    </a:ext>
                  </a:extLst>
                </a:gridCol>
                <a:gridCol w="1896269">
                  <a:extLst>
                    <a:ext uri="{9D8B030D-6E8A-4147-A177-3AD203B41FA5}">
                      <a16:colId xmlns:a16="http://schemas.microsoft.com/office/drawing/2014/main" val="3246527437"/>
                    </a:ext>
                  </a:extLst>
                </a:gridCol>
                <a:gridCol w="1896269">
                  <a:extLst>
                    <a:ext uri="{9D8B030D-6E8A-4147-A177-3AD203B41FA5}">
                      <a16:colId xmlns:a16="http://schemas.microsoft.com/office/drawing/2014/main" val="1373857652"/>
                    </a:ext>
                  </a:extLst>
                </a:gridCol>
              </a:tblGrid>
              <a:tr h="881743">
                <a:tc>
                  <a:txBody>
                    <a:bodyPr/>
                    <a:lstStyle/>
                    <a:p>
                      <a:r>
                        <a:rPr lang="en-IN" sz="1800">
                          <a:solidFill>
                            <a:schemeClr val="bg1"/>
                          </a:solidFill>
                        </a:rPr>
                        <a:t>Algorith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K Ve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0K Ve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M Ve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M Ve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Recall@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5485147"/>
                  </a:ext>
                </a:extLst>
              </a:tr>
              <a:tr h="881743">
                <a:tc>
                  <a:txBody>
                    <a:bodyPr/>
                    <a:lstStyle/>
                    <a:p>
                      <a:r>
                        <a:rPr lang="en-IN" sz="1800" b="1">
                          <a:solidFill>
                            <a:schemeClr val="bg1"/>
                          </a:solidFill>
                        </a:rPr>
                        <a:t>FAISS Flat</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75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75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7,500 </a:t>
                      </a:r>
                      <a:r>
                        <a:rPr lang="en-IN" sz="1800" dirty="0" err="1">
                          <a:solidFill>
                            <a:schemeClr val="bg1"/>
                          </a:solidFill>
                        </a:rPr>
                        <a:t>ms</a:t>
                      </a:r>
                      <a:endParaRPr lang="en-IN"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8524705"/>
                  </a:ext>
                </a:extLst>
              </a:tr>
              <a:tr h="881743">
                <a:tc>
                  <a:txBody>
                    <a:bodyPr/>
                    <a:lstStyle/>
                    <a:p>
                      <a:r>
                        <a:rPr lang="en-IN" sz="1800" b="1">
                          <a:solidFill>
                            <a:schemeClr val="bg1"/>
                          </a:solidFill>
                        </a:rPr>
                        <a:t>HNSW</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2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3 </a:t>
                      </a:r>
                      <a:r>
                        <a:rPr lang="en-IN" sz="1800" dirty="0" err="1">
                          <a:solidFill>
                            <a:schemeClr val="bg1"/>
                          </a:solidFill>
                        </a:rPr>
                        <a:t>ms</a:t>
                      </a:r>
                      <a:endParaRPr lang="en-IN"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4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95-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0971952"/>
                  </a:ext>
                </a:extLst>
              </a:tr>
              <a:tr h="881743">
                <a:tc>
                  <a:txBody>
                    <a:bodyPr/>
                    <a:lstStyle/>
                    <a:p>
                      <a:r>
                        <a:rPr lang="en-IN" sz="1800" b="1">
                          <a:solidFill>
                            <a:schemeClr val="bg1"/>
                          </a:solidFill>
                        </a:rPr>
                        <a:t>Brute Force</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0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000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8044050"/>
                  </a:ext>
                </a:extLst>
              </a:tr>
              <a:tr h="881743">
                <a:tc>
                  <a:txBody>
                    <a:bodyPr/>
                    <a:lstStyle/>
                    <a:p>
                      <a:r>
                        <a:rPr lang="en-IN" sz="1800" b="1">
                          <a:solidFill>
                            <a:schemeClr val="bg1"/>
                          </a:solidFill>
                        </a:rPr>
                        <a:t>Annoy</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2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3 </a:t>
                      </a:r>
                      <a:r>
                        <a:rPr lang="en-IN" sz="1800" dirty="0" err="1">
                          <a:solidFill>
                            <a:schemeClr val="bg1"/>
                          </a:solidFill>
                        </a:rPr>
                        <a:t>ms</a:t>
                      </a:r>
                      <a:endParaRPr lang="en-IN"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4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5 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92-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475838"/>
                  </a:ext>
                </a:extLst>
              </a:tr>
            </a:tbl>
          </a:graphicData>
        </a:graphic>
      </p:graphicFrame>
      <p:sp>
        <p:nvSpPr>
          <p:cNvPr id="5" name="TextBox 4">
            <a:extLst>
              <a:ext uri="{FF2B5EF4-FFF2-40B4-BE49-F238E27FC236}">
                <a16:creationId xmlns:a16="http://schemas.microsoft.com/office/drawing/2014/main" id="{746D6C6C-F3AC-AB91-4BBA-0C65E806FCB1}"/>
              </a:ext>
            </a:extLst>
          </p:cNvPr>
          <p:cNvSpPr txBox="1"/>
          <p:nvPr/>
        </p:nvSpPr>
        <p:spPr>
          <a:xfrm>
            <a:off x="404812" y="5823481"/>
            <a:ext cx="6977743" cy="646331"/>
          </a:xfrm>
          <a:prstGeom prst="rect">
            <a:avLst/>
          </a:prstGeom>
          <a:noFill/>
        </p:spPr>
        <p:txBody>
          <a:bodyPr wrap="square" rtlCol="0">
            <a:spAutoFit/>
          </a:bodyPr>
          <a:lstStyle/>
          <a:p>
            <a:r>
              <a:rPr lang="en-US" dirty="0">
                <a:solidFill>
                  <a:schemeClr val="bg1"/>
                </a:solidFill>
              </a:rPr>
              <a:t>Note: Times are approximate and depend on hardware, vector dimension, and implementation</a:t>
            </a:r>
            <a:endParaRPr lang="en-IN" dirty="0">
              <a:solidFill>
                <a:schemeClr val="bg1"/>
              </a:solidFill>
            </a:endParaRPr>
          </a:p>
        </p:txBody>
      </p:sp>
    </p:spTree>
    <p:extLst>
      <p:ext uri="{BB962C8B-B14F-4D97-AF65-F5344CB8AC3E}">
        <p14:creationId xmlns:p14="http://schemas.microsoft.com/office/powerpoint/2010/main" val="1103349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3C91F-3034-3604-10D2-199A2F30C239}"/>
              </a:ext>
            </a:extLst>
          </p:cNvPr>
          <p:cNvSpPr>
            <a:spLocks noGrp="1"/>
          </p:cNvSpPr>
          <p:nvPr>
            <p:ph type="title"/>
          </p:nvPr>
        </p:nvSpPr>
        <p:spPr>
          <a:xfrm>
            <a:off x="404813" y="388188"/>
            <a:ext cx="10947772" cy="716711"/>
          </a:xfrm>
        </p:spPr>
        <p:txBody>
          <a:bodyPr anchor="ctr">
            <a:normAutofit/>
          </a:bodyPr>
          <a:lstStyle/>
          <a:p>
            <a:r>
              <a:rPr lang="en-IN" dirty="0"/>
              <a:t>RAG Implementation Types</a:t>
            </a:r>
          </a:p>
        </p:txBody>
      </p:sp>
      <p:graphicFrame>
        <p:nvGraphicFramePr>
          <p:cNvPr id="5" name="Text Placeholder 2">
            <a:extLst>
              <a:ext uri="{FF2B5EF4-FFF2-40B4-BE49-F238E27FC236}">
                <a16:creationId xmlns:a16="http://schemas.microsoft.com/office/drawing/2014/main" id="{9CF22EE9-2EB0-CB74-7FA3-DE5E08666B79}"/>
              </a:ext>
            </a:extLst>
          </p:cNvPr>
          <p:cNvGraphicFramePr/>
          <p:nvPr>
            <p:extLst>
              <p:ext uri="{D42A27DB-BD31-4B8C-83A1-F6EECF244321}">
                <p14:modId xmlns:p14="http://schemas.microsoft.com/office/powerpoint/2010/main" val="2328501770"/>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43787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BCD72-A6D1-6D75-05F8-ABDCD2261C05}"/>
              </a:ext>
            </a:extLst>
          </p:cNvPr>
          <p:cNvSpPr>
            <a:spLocks noGrp="1"/>
          </p:cNvSpPr>
          <p:nvPr>
            <p:ph type="title"/>
          </p:nvPr>
        </p:nvSpPr>
        <p:spPr/>
        <p:txBody>
          <a:bodyPr/>
          <a:lstStyle/>
          <a:p>
            <a:r>
              <a:rPr lang="en-US" dirty="0"/>
              <a:t>Combined </a:t>
            </a:r>
            <a:r>
              <a:rPr lang="en-IN" dirty="0"/>
              <a:t>Tabular Summary for RAG Types</a:t>
            </a:r>
          </a:p>
        </p:txBody>
      </p:sp>
      <p:graphicFrame>
        <p:nvGraphicFramePr>
          <p:cNvPr id="19" name="Table 18">
            <a:extLst>
              <a:ext uri="{FF2B5EF4-FFF2-40B4-BE49-F238E27FC236}">
                <a16:creationId xmlns:a16="http://schemas.microsoft.com/office/drawing/2014/main" id="{5D4A2331-BD65-A45F-4785-B0066E235281}"/>
              </a:ext>
            </a:extLst>
          </p:cNvPr>
          <p:cNvGraphicFramePr>
            <a:graphicFrameLocks noGrp="1"/>
          </p:cNvGraphicFramePr>
          <p:nvPr>
            <p:extLst>
              <p:ext uri="{D42A27DB-BD31-4B8C-83A1-F6EECF244321}">
                <p14:modId xmlns:p14="http://schemas.microsoft.com/office/powerpoint/2010/main" val="3791745788"/>
              </p:ext>
            </p:extLst>
          </p:nvPr>
        </p:nvGraphicFramePr>
        <p:xfrm>
          <a:off x="326571" y="1327150"/>
          <a:ext cx="11288488" cy="5203327"/>
        </p:xfrm>
        <a:graphic>
          <a:graphicData uri="http://schemas.openxmlformats.org/drawingml/2006/table">
            <a:tbl>
              <a:tblPr>
                <a:tableStyleId>{3C2FFA5D-87B4-456A-9821-1D502468CF0F}</a:tableStyleId>
              </a:tblPr>
              <a:tblGrid>
                <a:gridCol w="2822122">
                  <a:extLst>
                    <a:ext uri="{9D8B030D-6E8A-4147-A177-3AD203B41FA5}">
                      <a16:colId xmlns:a16="http://schemas.microsoft.com/office/drawing/2014/main" val="166485699"/>
                    </a:ext>
                  </a:extLst>
                </a:gridCol>
                <a:gridCol w="2822122">
                  <a:extLst>
                    <a:ext uri="{9D8B030D-6E8A-4147-A177-3AD203B41FA5}">
                      <a16:colId xmlns:a16="http://schemas.microsoft.com/office/drawing/2014/main" val="3858759646"/>
                    </a:ext>
                  </a:extLst>
                </a:gridCol>
                <a:gridCol w="2822122">
                  <a:extLst>
                    <a:ext uri="{9D8B030D-6E8A-4147-A177-3AD203B41FA5}">
                      <a16:colId xmlns:a16="http://schemas.microsoft.com/office/drawing/2014/main" val="165012258"/>
                    </a:ext>
                  </a:extLst>
                </a:gridCol>
                <a:gridCol w="2822122">
                  <a:extLst>
                    <a:ext uri="{9D8B030D-6E8A-4147-A177-3AD203B41FA5}">
                      <a16:colId xmlns:a16="http://schemas.microsoft.com/office/drawing/2014/main" val="3575716290"/>
                    </a:ext>
                  </a:extLst>
                </a:gridCol>
              </a:tblGrid>
              <a:tr h="123007">
                <a:tc>
                  <a:txBody>
                    <a:bodyPr/>
                    <a:lstStyle/>
                    <a:p>
                      <a:r>
                        <a:rPr lang="en-IN" sz="1050" b="1" dirty="0"/>
                        <a:t>RAG Type</a:t>
                      </a:r>
                      <a:endParaRPr lang="en-IN" sz="1050" dirty="0"/>
                    </a:p>
                  </a:txBody>
                  <a:tcPr marL="30752" marR="30752" marT="15376" marB="15376" anchor="ctr"/>
                </a:tc>
                <a:tc>
                  <a:txBody>
                    <a:bodyPr/>
                    <a:lstStyle/>
                    <a:p>
                      <a:r>
                        <a:rPr lang="en-IN" sz="1050" b="1"/>
                        <a:t>Core Idea</a:t>
                      </a:r>
                      <a:endParaRPr lang="en-IN" sz="1050"/>
                    </a:p>
                  </a:txBody>
                  <a:tcPr marL="30752" marR="30752" marT="15376" marB="15376" anchor="ctr"/>
                </a:tc>
                <a:tc>
                  <a:txBody>
                    <a:bodyPr/>
                    <a:lstStyle/>
                    <a:p>
                      <a:r>
                        <a:rPr lang="en-IN" sz="1050" b="1"/>
                        <a:t>Best For</a:t>
                      </a:r>
                      <a:endParaRPr lang="en-IN" sz="1050"/>
                    </a:p>
                  </a:txBody>
                  <a:tcPr marL="30752" marR="30752" marT="15376" marB="15376" anchor="ctr"/>
                </a:tc>
                <a:tc>
                  <a:txBody>
                    <a:bodyPr/>
                    <a:lstStyle/>
                    <a:p>
                      <a:r>
                        <a:rPr lang="en-IN" sz="1050" b="1"/>
                        <a:t>Considerations</a:t>
                      </a:r>
                      <a:endParaRPr lang="en-IN" sz="1050"/>
                    </a:p>
                  </a:txBody>
                  <a:tcPr marL="30752" marR="30752" marT="15376" marB="15376" anchor="ctr"/>
                </a:tc>
                <a:extLst>
                  <a:ext uri="{0D108BD9-81ED-4DB2-BD59-A6C34878D82A}">
                    <a16:rowId xmlns:a16="http://schemas.microsoft.com/office/drawing/2014/main" val="3090150507"/>
                  </a:ext>
                </a:extLst>
              </a:tr>
              <a:tr h="676541">
                <a:tc>
                  <a:txBody>
                    <a:bodyPr/>
                    <a:lstStyle/>
                    <a:p>
                      <a:r>
                        <a:rPr lang="en-IN" sz="1050" b="1"/>
                        <a:t>Standard RAG</a:t>
                      </a:r>
                      <a:endParaRPr lang="en-IN" sz="1050"/>
                    </a:p>
                  </a:txBody>
                  <a:tcPr marL="30752" marR="30752" marT="15376" marB="15376" anchor="ctr"/>
                </a:tc>
                <a:tc>
                  <a:txBody>
                    <a:bodyPr/>
                    <a:lstStyle/>
                    <a:p>
                      <a:pPr marL="171450" indent="-171450">
                        <a:buFontTx/>
                        <a:buChar char="-"/>
                      </a:pPr>
                      <a:r>
                        <a:rPr lang="en-US" sz="1050" dirty="0"/>
                        <a:t>Single retrieval + generation pass</a:t>
                      </a:r>
                    </a:p>
                    <a:p>
                      <a:pPr marL="171450" indent="-171450">
                        <a:buFontTx/>
                        <a:buChar char="-"/>
                      </a:pPr>
                      <a:r>
                        <a:rPr lang="en-US" sz="1050" dirty="0"/>
                        <a:t> No specialized feedback loop</a:t>
                      </a:r>
                    </a:p>
                    <a:p>
                      <a:pPr marL="171450" indent="-171450">
                        <a:buFontTx/>
                        <a:buChar char="-"/>
                      </a:pPr>
                      <a:r>
                        <a:rPr lang="en-US" sz="1050" dirty="0"/>
                        <a:t> Simple document-query matching</a:t>
                      </a:r>
                    </a:p>
                  </a:txBody>
                  <a:tcPr marL="30752" marR="30752" marT="15376" marB="15376" anchor="ctr"/>
                </a:tc>
                <a:tc>
                  <a:txBody>
                    <a:bodyPr/>
                    <a:lstStyle/>
                    <a:p>
                      <a:r>
                        <a:rPr lang="en-US" sz="1050" dirty="0"/>
                        <a:t>- Typical QA tasks - Quick answers w/o heavy iteration - General knowledge applications</a:t>
                      </a:r>
                    </a:p>
                  </a:txBody>
                  <a:tcPr marL="30752" marR="30752" marT="15376" marB="15376" anchor="ctr"/>
                </a:tc>
                <a:tc>
                  <a:txBody>
                    <a:bodyPr/>
                    <a:lstStyle/>
                    <a:p>
                      <a:r>
                        <a:rPr lang="en-US" sz="1050" dirty="0"/>
                        <a:t>- May miss opportunities to correct errors - Limited context understanding - Straightforward implementation - Good baseline approach</a:t>
                      </a:r>
                    </a:p>
                  </a:txBody>
                  <a:tcPr marL="30752" marR="30752" marT="15376" marB="15376" anchor="ctr"/>
                </a:tc>
                <a:extLst>
                  <a:ext uri="{0D108BD9-81ED-4DB2-BD59-A6C34878D82A}">
                    <a16:rowId xmlns:a16="http://schemas.microsoft.com/office/drawing/2014/main" val="3280579189"/>
                  </a:ext>
                </a:extLst>
              </a:tr>
              <a:tr h="676541">
                <a:tc>
                  <a:txBody>
                    <a:bodyPr/>
                    <a:lstStyle/>
                    <a:p>
                      <a:r>
                        <a:rPr lang="en-IN" sz="1050" b="1"/>
                        <a:t>Graph RAG</a:t>
                      </a:r>
                      <a:endParaRPr lang="en-IN" sz="1050"/>
                    </a:p>
                  </a:txBody>
                  <a:tcPr marL="30752" marR="30752" marT="15376" marB="15376" anchor="ctr"/>
                </a:tc>
                <a:tc>
                  <a:txBody>
                    <a:bodyPr/>
                    <a:lstStyle/>
                    <a:p>
                      <a:r>
                        <a:rPr lang="en-US" sz="1050" dirty="0"/>
                        <a:t>- Leverages knowledge graphs - Structured relationships guide retrieval - Captures entity relationships</a:t>
                      </a:r>
                    </a:p>
                  </a:txBody>
                  <a:tcPr marL="30752" marR="30752" marT="15376" marB="15376" anchor="ctr"/>
                </a:tc>
                <a:tc>
                  <a:txBody>
                    <a:bodyPr/>
                    <a:lstStyle/>
                    <a:p>
                      <a:r>
                        <a:rPr lang="en-US" sz="1050" dirty="0"/>
                        <a:t>- Complex knowledge domains (finance, healthcare, etc.) - Queries requiring relationship understanding - Multi-hop reasoning</a:t>
                      </a:r>
                    </a:p>
                  </a:txBody>
                  <a:tcPr marL="30752" marR="30752" marT="15376" marB="15376" anchor="ctr"/>
                </a:tc>
                <a:tc>
                  <a:txBody>
                    <a:bodyPr/>
                    <a:lstStyle/>
                    <a:p>
                      <a:r>
                        <a:rPr lang="en-US" sz="1050" dirty="0"/>
                        <a:t>- Requires a well-defined knowledge graph - Graph maintenance overhead - Higher initial setup costs - Better for structured data</a:t>
                      </a:r>
                    </a:p>
                  </a:txBody>
                  <a:tcPr marL="30752" marR="30752" marT="15376" marB="15376" anchor="ctr"/>
                </a:tc>
                <a:extLst>
                  <a:ext uri="{0D108BD9-81ED-4DB2-BD59-A6C34878D82A}">
                    <a16:rowId xmlns:a16="http://schemas.microsoft.com/office/drawing/2014/main" val="2393415506"/>
                  </a:ext>
                </a:extLst>
              </a:tr>
              <a:tr h="768797">
                <a:tc>
                  <a:txBody>
                    <a:bodyPr/>
                    <a:lstStyle/>
                    <a:p>
                      <a:r>
                        <a:rPr lang="en-IN" sz="1050" b="1"/>
                        <a:t>Adaptive RAG</a:t>
                      </a:r>
                      <a:endParaRPr lang="en-IN" sz="1050"/>
                    </a:p>
                  </a:txBody>
                  <a:tcPr marL="30752" marR="30752" marT="15376" marB="15376" anchor="ctr"/>
                </a:tc>
                <a:tc>
                  <a:txBody>
                    <a:bodyPr/>
                    <a:lstStyle/>
                    <a:p>
                      <a:r>
                        <a:rPr lang="en-US" sz="1050" dirty="0"/>
                        <a:t>- Dynamically adjusts retrieval or generation - Could use signals like confidence or user preferences - Real-time strategy selection</a:t>
                      </a:r>
                    </a:p>
                  </a:txBody>
                  <a:tcPr marL="30752" marR="30752" marT="15376" marB="15376" anchor="ctr"/>
                </a:tc>
                <a:tc>
                  <a:txBody>
                    <a:bodyPr/>
                    <a:lstStyle/>
                    <a:p>
                      <a:r>
                        <a:rPr lang="en-US" sz="1050" dirty="0"/>
                        <a:t>- Rapidly changing contexts - Personalized experiences - Systems with diverse query types</a:t>
                      </a:r>
                    </a:p>
                  </a:txBody>
                  <a:tcPr marL="30752" marR="30752" marT="15376" marB="15376" anchor="ctr"/>
                </a:tc>
                <a:tc>
                  <a:txBody>
                    <a:bodyPr/>
                    <a:lstStyle/>
                    <a:p>
                      <a:r>
                        <a:rPr lang="en-US" sz="1050" dirty="0"/>
                        <a:t>- More complex to implement - Risk of "over-adaptation" if not tuned - Requires monitoring mechanisms - Benefits from user interaction data</a:t>
                      </a:r>
                    </a:p>
                  </a:txBody>
                  <a:tcPr marL="30752" marR="30752" marT="15376" marB="15376" anchor="ctr"/>
                </a:tc>
                <a:extLst>
                  <a:ext uri="{0D108BD9-81ED-4DB2-BD59-A6C34878D82A}">
                    <a16:rowId xmlns:a16="http://schemas.microsoft.com/office/drawing/2014/main" val="2383768633"/>
                  </a:ext>
                </a:extLst>
              </a:tr>
              <a:tr h="676541">
                <a:tc>
                  <a:txBody>
                    <a:bodyPr/>
                    <a:lstStyle/>
                    <a:p>
                      <a:r>
                        <a:rPr lang="en-IN" sz="1050" b="1"/>
                        <a:t>Iterative RAG</a:t>
                      </a:r>
                      <a:endParaRPr lang="en-IN" sz="1050"/>
                    </a:p>
                  </a:txBody>
                  <a:tcPr marL="30752" marR="30752" marT="15376" marB="15376" anchor="ctr"/>
                </a:tc>
                <a:tc>
                  <a:txBody>
                    <a:bodyPr/>
                    <a:lstStyle/>
                    <a:p>
                      <a:r>
                        <a:rPr lang="en-US" sz="1050" dirty="0"/>
                        <a:t>- Multiple retrieval/generation loops - Each pass refines or expands context - Progressive information gathering</a:t>
                      </a:r>
                    </a:p>
                  </a:txBody>
                  <a:tcPr marL="30752" marR="30752" marT="15376" marB="15376" anchor="ctr"/>
                </a:tc>
                <a:tc>
                  <a:txBody>
                    <a:bodyPr/>
                    <a:lstStyle/>
                    <a:p>
                      <a:r>
                        <a:rPr lang="en-US" sz="1050" dirty="0"/>
                        <a:t>- Long or multi-step reasoning - High-precision domains - Research and exploration tasks</a:t>
                      </a:r>
                    </a:p>
                  </a:txBody>
                  <a:tcPr marL="30752" marR="30752" marT="15376" marB="15376" anchor="ctr"/>
                </a:tc>
                <a:tc>
                  <a:txBody>
                    <a:bodyPr/>
                    <a:lstStyle/>
                    <a:p>
                      <a:r>
                        <a:rPr lang="en-US" sz="1050" dirty="0"/>
                        <a:t>- Slower or more resource-intensive - Stopping criteria needed - May face diminishing returns - Good for complex questions</a:t>
                      </a:r>
                    </a:p>
                  </a:txBody>
                  <a:tcPr marL="30752" marR="30752" marT="15376" marB="15376" anchor="ctr"/>
                </a:tc>
                <a:extLst>
                  <a:ext uri="{0D108BD9-81ED-4DB2-BD59-A6C34878D82A}">
                    <a16:rowId xmlns:a16="http://schemas.microsoft.com/office/drawing/2014/main" val="1317682139"/>
                  </a:ext>
                </a:extLst>
              </a:tr>
              <a:tr h="768797">
                <a:tc>
                  <a:txBody>
                    <a:bodyPr/>
                    <a:lstStyle/>
                    <a:p>
                      <a:r>
                        <a:rPr lang="en-IN" sz="1050" b="1"/>
                        <a:t>Corrective RAG</a:t>
                      </a:r>
                      <a:endParaRPr lang="en-IN" sz="1050"/>
                    </a:p>
                  </a:txBody>
                  <a:tcPr marL="30752" marR="30752" marT="15376" marB="15376" anchor="ctr"/>
                </a:tc>
                <a:tc>
                  <a:txBody>
                    <a:bodyPr/>
                    <a:lstStyle/>
                    <a:p>
                      <a:r>
                        <a:rPr lang="en-US" sz="1050" dirty="0"/>
                        <a:t>- Incorporates explicit user or system feedback - Re-generates or corrects answers - Self-improving mechanism</a:t>
                      </a:r>
                    </a:p>
                  </a:txBody>
                  <a:tcPr marL="30752" marR="30752" marT="15376" marB="15376" anchor="ctr"/>
                </a:tc>
                <a:tc>
                  <a:txBody>
                    <a:bodyPr/>
                    <a:lstStyle/>
                    <a:p>
                      <a:r>
                        <a:rPr lang="en-US" sz="1050" dirty="0"/>
                        <a:t>- High-stakes tasks requiring validation - Interactive scenarios - Educational or training applications</a:t>
                      </a:r>
                    </a:p>
                  </a:txBody>
                  <a:tcPr marL="30752" marR="30752" marT="15376" marB="15376" anchor="ctr"/>
                </a:tc>
                <a:tc>
                  <a:txBody>
                    <a:bodyPr/>
                    <a:lstStyle/>
                    <a:p>
                      <a:r>
                        <a:rPr lang="en-US" sz="1050" dirty="0"/>
                        <a:t>- Must gather valid feedback - Additional overhead in iteration - UI considerations for feedback collection - Improves over time with quality feedback</a:t>
                      </a:r>
                    </a:p>
                  </a:txBody>
                  <a:tcPr marL="30752" marR="30752" marT="15376" marB="15376" anchor="ctr"/>
                </a:tc>
                <a:extLst>
                  <a:ext uri="{0D108BD9-81ED-4DB2-BD59-A6C34878D82A}">
                    <a16:rowId xmlns:a16="http://schemas.microsoft.com/office/drawing/2014/main" val="3652854281"/>
                  </a:ext>
                </a:extLst>
              </a:tr>
              <a:tr h="768797">
                <a:tc>
                  <a:txBody>
                    <a:bodyPr/>
                    <a:lstStyle/>
                    <a:p>
                      <a:r>
                        <a:rPr lang="en-IN" sz="1050" b="1"/>
                        <a:t>RAPTOR RAG</a:t>
                      </a:r>
                      <a:endParaRPr lang="en-IN" sz="1050"/>
                    </a:p>
                  </a:txBody>
                  <a:tcPr marL="30752" marR="30752" marT="15376" marB="15376" anchor="ctr"/>
                </a:tc>
                <a:tc>
                  <a:txBody>
                    <a:bodyPr/>
                    <a:lstStyle/>
                    <a:p>
                      <a:r>
                        <a:rPr lang="en-US" sz="1050" dirty="0"/>
                        <a:t>- Performance-optimized pipeline - Parallel retrieval and processing - Modular architecture</a:t>
                      </a:r>
                    </a:p>
                  </a:txBody>
                  <a:tcPr marL="30752" marR="30752" marT="15376" marB="15376" anchor="ctr"/>
                </a:tc>
                <a:tc>
                  <a:txBody>
                    <a:bodyPr/>
                    <a:lstStyle/>
                    <a:p>
                      <a:r>
                        <a:rPr lang="en-US" sz="1050" dirty="0"/>
                        <a:t>- Large-scale production systems - High-throughput applications - Enterprise deployments</a:t>
                      </a:r>
                    </a:p>
                  </a:txBody>
                  <a:tcPr marL="30752" marR="30752" marT="15376" marB="15376" anchor="ctr"/>
                </a:tc>
                <a:tc>
                  <a:txBody>
                    <a:bodyPr/>
                    <a:lstStyle/>
                    <a:p>
                      <a:r>
                        <a:rPr lang="en-US" sz="1050" dirty="0"/>
                        <a:t>- Complex orchestration requirements - Higher engineering overhead - Requires proper infrastructure - Scalability-focused design</a:t>
                      </a:r>
                    </a:p>
                  </a:txBody>
                  <a:tcPr marL="30752" marR="30752" marT="15376" marB="15376" anchor="ctr"/>
                </a:tc>
                <a:extLst>
                  <a:ext uri="{0D108BD9-81ED-4DB2-BD59-A6C34878D82A}">
                    <a16:rowId xmlns:a16="http://schemas.microsoft.com/office/drawing/2014/main" val="2051219755"/>
                  </a:ext>
                </a:extLst>
              </a:tr>
              <a:tr h="676541">
                <a:tc>
                  <a:txBody>
                    <a:bodyPr/>
                    <a:lstStyle/>
                    <a:p>
                      <a:r>
                        <a:rPr lang="en-IN" sz="1050" b="1"/>
                        <a:t>Multimodal RAG</a:t>
                      </a:r>
                      <a:endParaRPr lang="en-IN" sz="1050"/>
                    </a:p>
                  </a:txBody>
                  <a:tcPr marL="30752" marR="30752" marT="15376" marB="15376" anchor="ctr"/>
                </a:tc>
                <a:tc>
                  <a:txBody>
                    <a:bodyPr/>
                    <a:lstStyle/>
                    <a:p>
                      <a:r>
                        <a:rPr lang="en-US" sz="1050" dirty="0"/>
                        <a:t>- Handles multiple content types (text, images, audio) - Cross-modal retrieval and reasoning - Unified embedding space</a:t>
                      </a:r>
                    </a:p>
                  </a:txBody>
                  <a:tcPr marL="30752" marR="30752" marT="15376" marB="15376" anchor="ctr"/>
                </a:tc>
                <a:tc>
                  <a:txBody>
                    <a:bodyPr/>
                    <a:lstStyle/>
                    <a:p>
                      <a:r>
                        <a:rPr lang="en-US" sz="1050" dirty="0"/>
                        <a:t>- Rich media environments - Visual question answering - Content with diverse media types</a:t>
                      </a:r>
                    </a:p>
                  </a:txBody>
                  <a:tcPr marL="30752" marR="30752" marT="15376" marB="15376" anchor="ctr"/>
                </a:tc>
                <a:tc>
                  <a:txBody>
                    <a:bodyPr/>
                    <a:lstStyle/>
                    <a:p>
                      <a:r>
                        <a:rPr lang="en-US" sz="1050" dirty="0"/>
                        <a:t>- Requires specialized embedding models - More complex indexing strategy - Higher storage requirements - Emerging technology</a:t>
                      </a:r>
                    </a:p>
                  </a:txBody>
                  <a:tcPr marL="30752" marR="30752" marT="15376" marB="15376" anchor="ctr"/>
                </a:tc>
                <a:extLst>
                  <a:ext uri="{0D108BD9-81ED-4DB2-BD59-A6C34878D82A}">
                    <a16:rowId xmlns:a16="http://schemas.microsoft.com/office/drawing/2014/main" val="2980539263"/>
                  </a:ext>
                </a:extLst>
              </a:tr>
            </a:tbl>
          </a:graphicData>
        </a:graphic>
      </p:graphicFrame>
    </p:spTree>
    <p:extLst>
      <p:ext uri="{BB962C8B-B14F-4D97-AF65-F5344CB8AC3E}">
        <p14:creationId xmlns:p14="http://schemas.microsoft.com/office/powerpoint/2010/main" val="1379283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DC3A5-2EA7-1C07-AFC8-4E62609DC079}"/>
              </a:ext>
            </a:extLst>
          </p:cNvPr>
          <p:cNvSpPr>
            <a:spLocks noGrp="1"/>
          </p:cNvSpPr>
          <p:nvPr>
            <p:ph type="title"/>
          </p:nvPr>
        </p:nvSpPr>
        <p:spPr/>
        <p:txBody>
          <a:bodyPr/>
          <a:lstStyle/>
          <a:p>
            <a:r>
              <a:rPr lang="fr-FR" dirty="0"/>
              <a:t>RAG Types - </a:t>
            </a:r>
            <a:r>
              <a:rPr lang="fr-FR" dirty="0" err="1"/>
              <a:t>Technical</a:t>
            </a:r>
            <a:r>
              <a:rPr lang="fr-FR" dirty="0"/>
              <a:t> </a:t>
            </a:r>
            <a:r>
              <a:rPr lang="fr-FR" dirty="0" err="1"/>
              <a:t>Comparison</a:t>
            </a:r>
            <a:r>
              <a:rPr lang="fr-FR" dirty="0"/>
              <a:t> Matrix</a:t>
            </a:r>
            <a:endParaRPr lang="en-IN" dirty="0"/>
          </a:p>
        </p:txBody>
      </p:sp>
      <p:graphicFrame>
        <p:nvGraphicFramePr>
          <p:cNvPr id="4" name="Table 3">
            <a:extLst>
              <a:ext uri="{FF2B5EF4-FFF2-40B4-BE49-F238E27FC236}">
                <a16:creationId xmlns:a16="http://schemas.microsoft.com/office/drawing/2014/main" id="{48C6C185-3725-34AF-36ED-455382D26509}"/>
              </a:ext>
            </a:extLst>
          </p:cNvPr>
          <p:cNvGraphicFramePr>
            <a:graphicFrameLocks noGrp="1"/>
          </p:cNvGraphicFramePr>
          <p:nvPr>
            <p:extLst>
              <p:ext uri="{D42A27DB-BD31-4B8C-83A1-F6EECF244321}">
                <p14:modId xmlns:p14="http://schemas.microsoft.com/office/powerpoint/2010/main" val="4045146260"/>
              </p:ext>
            </p:extLst>
          </p:nvPr>
        </p:nvGraphicFramePr>
        <p:xfrm>
          <a:off x="404813" y="1197429"/>
          <a:ext cx="11377611" cy="5120663"/>
        </p:xfrm>
        <a:graphic>
          <a:graphicData uri="http://schemas.openxmlformats.org/drawingml/2006/table">
            <a:tbl>
              <a:tblPr/>
              <a:tblGrid>
                <a:gridCol w="1625373">
                  <a:extLst>
                    <a:ext uri="{9D8B030D-6E8A-4147-A177-3AD203B41FA5}">
                      <a16:colId xmlns:a16="http://schemas.microsoft.com/office/drawing/2014/main" val="662122712"/>
                    </a:ext>
                  </a:extLst>
                </a:gridCol>
                <a:gridCol w="1625373">
                  <a:extLst>
                    <a:ext uri="{9D8B030D-6E8A-4147-A177-3AD203B41FA5}">
                      <a16:colId xmlns:a16="http://schemas.microsoft.com/office/drawing/2014/main" val="2557811683"/>
                    </a:ext>
                  </a:extLst>
                </a:gridCol>
                <a:gridCol w="1625373">
                  <a:extLst>
                    <a:ext uri="{9D8B030D-6E8A-4147-A177-3AD203B41FA5}">
                      <a16:colId xmlns:a16="http://schemas.microsoft.com/office/drawing/2014/main" val="832828150"/>
                    </a:ext>
                  </a:extLst>
                </a:gridCol>
                <a:gridCol w="1625373">
                  <a:extLst>
                    <a:ext uri="{9D8B030D-6E8A-4147-A177-3AD203B41FA5}">
                      <a16:colId xmlns:a16="http://schemas.microsoft.com/office/drawing/2014/main" val="1336312494"/>
                    </a:ext>
                  </a:extLst>
                </a:gridCol>
                <a:gridCol w="1625373">
                  <a:extLst>
                    <a:ext uri="{9D8B030D-6E8A-4147-A177-3AD203B41FA5}">
                      <a16:colId xmlns:a16="http://schemas.microsoft.com/office/drawing/2014/main" val="3332250336"/>
                    </a:ext>
                  </a:extLst>
                </a:gridCol>
                <a:gridCol w="1625373">
                  <a:extLst>
                    <a:ext uri="{9D8B030D-6E8A-4147-A177-3AD203B41FA5}">
                      <a16:colId xmlns:a16="http://schemas.microsoft.com/office/drawing/2014/main" val="2047178591"/>
                    </a:ext>
                  </a:extLst>
                </a:gridCol>
                <a:gridCol w="1625373">
                  <a:extLst>
                    <a:ext uri="{9D8B030D-6E8A-4147-A177-3AD203B41FA5}">
                      <a16:colId xmlns:a16="http://schemas.microsoft.com/office/drawing/2014/main" val="2940733857"/>
                    </a:ext>
                  </a:extLst>
                </a:gridCol>
              </a:tblGrid>
              <a:tr h="386465">
                <a:tc>
                  <a:txBody>
                    <a:bodyPr/>
                    <a:lstStyle/>
                    <a:p>
                      <a:r>
                        <a:rPr lang="en-IN">
                          <a:solidFill>
                            <a:schemeClr val="bg1"/>
                          </a:solidFill>
                        </a:rPr>
                        <a:t>Fea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tandar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Grap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Adap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Iter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Corr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RAPT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2414437"/>
                  </a:ext>
                </a:extLst>
              </a:tr>
              <a:tr h="386465">
                <a:tc>
                  <a:txBody>
                    <a:bodyPr/>
                    <a:lstStyle/>
                    <a:p>
                      <a:r>
                        <a:rPr lang="en-IN" b="1">
                          <a:solidFill>
                            <a:schemeClr val="bg1"/>
                          </a:solidFill>
                        </a:rPr>
                        <a:t>Complexity</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6199075"/>
                  </a:ext>
                </a:extLst>
              </a:tr>
              <a:tr h="676314">
                <a:tc>
                  <a:txBody>
                    <a:bodyPr/>
                    <a:lstStyle/>
                    <a:p>
                      <a:r>
                        <a:rPr lang="en-IN" b="1">
                          <a:solidFill>
                            <a:schemeClr val="bg1"/>
                          </a:solidFill>
                        </a:rPr>
                        <a:t>Setup Difficulty</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as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as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Eas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Har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7379035"/>
                  </a:ext>
                </a:extLst>
              </a:tr>
              <a:tr h="966163">
                <a:tc>
                  <a:txBody>
                    <a:bodyPr/>
                    <a:lstStyle/>
                    <a:p>
                      <a:r>
                        <a:rPr lang="en-IN" b="1">
                          <a:solidFill>
                            <a:schemeClr val="bg1"/>
                          </a:solidFill>
                        </a:rPr>
                        <a:t>Compute Requirements</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ery 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0031435"/>
                  </a:ext>
                </a:extLst>
              </a:tr>
              <a:tr h="676314">
                <a:tc>
                  <a:txBody>
                    <a:bodyPr/>
                    <a:lstStyle/>
                    <a:p>
                      <a:r>
                        <a:rPr lang="en-IN" b="1">
                          <a:solidFill>
                            <a:schemeClr val="bg1"/>
                          </a:solidFill>
                        </a:rPr>
                        <a:t>Answer Quality</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G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G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G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t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t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9547413"/>
                  </a:ext>
                </a:extLst>
              </a:tr>
              <a:tr h="676314">
                <a:tc>
                  <a:txBody>
                    <a:bodyPr/>
                    <a:lstStyle/>
                    <a:p>
                      <a:r>
                        <a:rPr lang="en-IN" b="1">
                          <a:solidFill>
                            <a:schemeClr val="bg1"/>
                          </a:solidFill>
                        </a:rPr>
                        <a:t>Hallucination Prevention</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as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as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t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t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G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B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1260451"/>
                  </a:ext>
                </a:extLst>
              </a:tr>
              <a:tr h="676314">
                <a:tc>
                  <a:txBody>
                    <a:bodyPr/>
                    <a:lstStyle/>
                    <a:p>
                      <a:r>
                        <a:rPr lang="en-IN" b="1">
                          <a:solidFill>
                            <a:schemeClr val="bg1"/>
                          </a:solidFill>
                        </a:rPr>
                        <a:t>Response Time</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S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lowe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5042431"/>
                  </a:ext>
                </a:extLst>
              </a:tr>
              <a:tr h="676314">
                <a:tc>
                  <a:txBody>
                    <a:bodyPr/>
                    <a:lstStyle/>
                    <a:p>
                      <a:r>
                        <a:rPr lang="en-IN" b="1">
                          <a:solidFill>
                            <a:schemeClr val="bg1"/>
                          </a:solidFill>
                        </a:rPr>
                        <a:t>Best For</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Simple Q&amp;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Related fac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Varied quer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a:solidFill>
                            <a:schemeClr val="bg1"/>
                          </a:solidFill>
                        </a:rPr>
                        <a:t>Critical inf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dirty="0">
                          <a:solidFill>
                            <a:schemeClr val="bg1"/>
                          </a:solidFill>
                        </a:rPr>
                        <a:t>Premium us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0609499"/>
                  </a:ext>
                </a:extLst>
              </a:tr>
            </a:tbl>
          </a:graphicData>
        </a:graphic>
      </p:graphicFrame>
    </p:spTree>
    <p:extLst>
      <p:ext uri="{BB962C8B-B14F-4D97-AF65-F5344CB8AC3E}">
        <p14:creationId xmlns:p14="http://schemas.microsoft.com/office/powerpoint/2010/main" val="441019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5199D-EAE3-1F3F-2F7F-9A8B3255EA26}"/>
              </a:ext>
            </a:extLst>
          </p:cNvPr>
          <p:cNvSpPr>
            <a:spLocks noGrp="1"/>
          </p:cNvSpPr>
          <p:nvPr>
            <p:ph type="title"/>
          </p:nvPr>
        </p:nvSpPr>
        <p:spPr/>
        <p:txBody>
          <a:bodyPr/>
          <a:lstStyle/>
          <a:p>
            <a:r>
              <a:rPr lang="fr-FR" dirty="0"/>
              <a:t>Document Loader - File Format Support</a:t>
            </a:r>
            <a:endParaRPr lang="en-IN" dirty="0"/>
          </a:p>
        </p:txBody>
      </p:sp>
      <p:graphicFrame>
        <p:nvGraphicFramePr>
          <p:cNvPr id="4" name="Table 3">
            <a:extLst>
              <a:ext uri="{FF2B5EF4-FFF2-40B4-BE49-F238E27FC236}">
                <a16:creationId xmlns:a16="http://schemas.microsoft.com/office/drawing/2014/main" id="{B2562953-8CA4-4390-2F42-45F26D68097D}"/>
              </a:ext>
            </a:extLst>
          </p:cNvPr>
          <p:cNvGraphicFramePr>
            <a:graphicFrameLocks noGrp="1"/>
          </p:cNvGraphicFramePr>
          <p:nvPr/>
        </p:nvGraphicFramePr>
        <p:xfrm>
          <a:off x="404813" y="1349172"/>
          <a:ext cx="10998654" cy="4820438"/>
        </p:xfrm>
        <a:graphic>
          <a:graphicData uri="http://schemas.openxmlformats.org/drawingml/2006/table">
            <a:tbl>
              <a:tblPr/>
              <a:tblGrid>
                <a:gridCol w="3666218">
                  <a:extLst>
                    <a:ext uri="{9D8B030D-6E8A-4147-A177-3AD203B41FA5}">
                      <a16:colId xmlns:a16="http://schemas.microsoft.com/office/drawing/2014/main" val="1187369221"/>
                    </a:ext>
                  </a:extLst>
                </a:gridCol>
                <a:gridCol w="3666218">
                  <a:extLst>
                    <a:ext uri="{9D8B030D-6E8A-4147-A177-3AD203B41FA5}">
                      <a16:colId xmlns:a16="http://schemas.microsoft.com/office/drawing/2014/main" val="1621801595"/>
                    </a:ext>
                  </a:extLst>
                </a:gridCol>
                <a:gridCol w="3666218">
                  <a:extLst>
                    <a:ext uri="{9D8B030D-6E8A-4147-A177-3AD203B41FA5}">
                      <a16:colId xmlns:a16="http://schemas.microsoft.com/office/drawing/2014/main" val="810204393"/>
                    </a:ext>
                  </a:extLst>
                </a:gridCol>
              </a:tblGrid>
              <a:tr h="319575">
                <a:tc>
                  <a:txBody>
                    <a:bodyPr/>
                    <a:lstStyle/>
                    <a:p>
                      <a:r>
                        <a:rPr lang="en-IN" dirty="0">
                          <a:solidFill>
                            <a:schemeClr val="bg1"/>
                          </a:solidFill>
                        </a:rPr>
                        <a:t>Form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Implemen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Featu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430924"/>
                  </a:ext>
                </a:extLst>
              </a:tr>
              <a:tr h="1038619">
                <a:tc>
                  <a:txBody>
                    <a:bodyPr/>
                    <a:lstStyle/>
                    <a:p>
                      <a:r>
                        <a:rPr lang="en-IN" b="1" dirty="0">
                          <a:solidFill>
                            <a:schemeClr val="bg1"/>
                          </a:solidFill>
                        </a:rPr>
                        <a:t>PDF</a:t>
                      </a:r>
                      <a:endParaRPr lang="en-IN"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err="1">
                          <a:solidFill>
                            <a:schemeClr val="bg1"/>
                          </a:solidFill>
                        </a:rPr>
                        <a:t>PdfReader</a:t>
                      </a:r>
                      <a:endParaRPr lang="en-IN"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solidFill>
                        </a:rPr>
                        <a:t>- Page-by-page extraction - Metadata preservation - Structured output with page nu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831608"/>
                  </a:ext>
                </a:extLst>
              </a:tr>
              <a:tr h="1038619">
                <a:tc>
                  <a:txBody>
                    <a:bodyPr/>
                    <a:lstStyle/>
                    <a:p>
                      <a:r>
                        <a:rPr lang="en-IN" b="1">
                          <a:solidFill>
                            <a:schemeClr val="bg1"/>
                          </a:solidFill>
                        </a:rPr>
                        <a:t>DOCX</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err="1">
                          <a:solidFill>
                            <a:schemeClr val="bg1"/>
                          </a:solidFill>
                        </a:rPr>
                        <a:t>DocxDocument</a:t>
                      </a:r>
                      <a:endParaRPr lang="en-IN"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 Paragraph and style preservation - Table extraction - Document properties extra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2032745"/>
                  </a:ext>
                </a:extLst>
              </a:tr>
              <a:tr h="1038619">
                <a:tc>
                  <a:txBody>
                    <a:bodyPr/>
                    <a:lstStyle/>
                    <a:p>
                      <a:r>
                        <a:rPr lang="en-IN" b="1">
                          <a:solidFill>
                            <a:schemeClr val="bg1"/>
                          </a:solidFill>
                        </a:rPr>
                        <a:t>PPTX</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Presen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solidFill>
                        </a:rPr>
                        <a:t>- Slide-by-slide extraction - Shape and text frame processing - Structured output with slide nu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875431"/>
                  </a:ext>
                </a:extLst>
              </a:tr>
              <a:tr h="1038619">
                <a:tc>
                  <a:txBody>
                    <a:bodyPr/>
                    <a:lstStyle/>
                    <a:p>
                      <a:r>
                        <a:rPr lang="en-IN" b="1">
                          <a:solidFill>
                            <a:schemeClr val="bg1"/>
                          </a:solidFill>
                        </a:rPr>
                        <a:t>CSV</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pandas.read_cs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a:solidFill>
                            <a:schemeClr val="bg1"/>
                          </a:solidFill>
                        </a:rPr>
                        <a:t>- Statistical analysis - Column type detection - Summary generation - Correlation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7300203"/>
                  </a:ext>
                </a:extLst>
              </a:tr>
            </a:tbl>
          </a:graphicData>
        </a:graphic>
      </p:graphicFrame>
    </p:spTree>
    <p:extLst>
      <p:ext uri="{BB962C8B-B14F-4D97-AF65-F5344CB8AC3E}">
        <p14:creationId xmlns:p14="http://schemas.microsoft.com/office/powerpoint/2010/main" val="2391396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1F9F16-E51E-648E-C529-E5C493102FFF}"/>
              </a:ext>
            </a:extLst>
          </p:cNvPr>
          <p:cNvSpPr txBox="1"/>
          <p:nvPr/>
        </p:nvSpPr>
        <p:spPr>
          <a:xfrm>
            <a:off x="404813" y="388188"/>
            <a:ext cx="10947772" cy="716711"/>
          </a:xfrm>
          <a:prstGeom prst="rect">
            <a:avLst/>
          </a:prstGeom>
        </p:spPr>
        <p:txBody>
          <a:bodyPr vert="horz" lIns="0" tIns="0" rIns="0" bIns="0" rtlCol="0" anchor="ctr">
            <a:normAutofit/>
          </a:bodyPr>
          <a:lstStyle/>
          <a:p>
            <a:pPr>
              <a:spcBef>
                <a:spcPct val="0"/>
              </a:spcBef>
              <a:spcAft>
                <a:spcPts val="600"/>
              </a:spcAft>
            </a:pPr>
            <a:r>
              <a:rPr kumimoji="0" lang="en-US" sz="2600" b="0" i="0" u="none" strike="noStrike" kern="1200" cap="all" spc="0" normalizeH="0" baseline="0" noProof="0" dirty="0">
                <a:ln>
                  <a:noFill/>
                </a:ln>
                <a:solidFill>
                  <a:schemeClr val="accent4"/>
                </a:solidFill>
                <a:effectLst/>
                <a:uLnTx/>
                <a:uFillTx/>
              </a:rPr>
              <a:t>Comprehensive Technical Deep Dive</a:t>
            </a:r>
          </a:p>
        </p:txBody>
      </p:sp>
      <p:graphicFrame>
        <p:nvGraphicFramePr>
          <p:cNvPr id="14" name="TextBox 1">
            <a:extLst>
              <a:ext uri="{FF2B5EF4-FFF2-40B4-BE49-F238E27FC236}">
                <a16:creationId xmlns:a16="http://schemas.microsoft.com/office/drawing/2014/main" id="{D79C3D23-669E-4696-F539-9166C95CC942}"/>
              </a:ext>
            </a:extLst>
          </p:cNvPr>
          <p:cNvGraphicFramePr/>
          <p:nvPr>
            <p:extLst>
              <p:ext uri="{D42A27DB-BD31-4B8C-83A1-F6EECF244321}">
                <p14:modId xmlns:p14="http://schemas.microsoft.com/office/powerpoint/2010/main" val="4203367304"/>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1062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30DDE-8511-C3F5-3D4F-5A251C6B3A1F}"/>
              </a:ext>
            </a:extLst>
          </p:cNvPr>
          <p:cNvSpPr>
            <a:spLocks noGrp="1"/>
          </p:cNvSpPr>
          <p:nvPr>
            <p:ph type="title"/>
          </p:nvPr>
        </p:nvSpPr>
        <p:spPr>
          <a:xfrm>
            <a:off x="404813" y="388188"/>
            <a:ext cx="10947772" cy="716711"/>
          </a:xfrm>
        </p:spPr>
        <p:txBody>
          <a:bodyPr anchor="ctr">
            <a:normAutofit/>
          </a:bodyPr>
          <a:lstStyle/>
          <a:p>
            <a:r>
              <a:rPr lang="en-IN" dirty="0"/>
              <a:t>Document Loader - CSV Processing</a:t>
            </a:r>
          </a:p>
        </p:txBody>
      </p:sp>
      <p:graphicFrame>
        <p:nvGraphicFramePr>
          <p:cNvPr id="5" name="Text Placeholder 2">
            <a:extLst>
              <a:ext uri="{FF2B5EF4-FFF2-40B4-BE49-F238E27FC236}">
                <a16:creationId xmlns:a16="http://schemas.microsoft.com/office/drawing/2014/main" id="{A04EE772-2C36-AF3E-DDFA-C9D8DFBAB4D2}"/>
              </a:ext>
            </a:extLst>
          </p:cNvPr>
          <p:cNvGraphicFramePr/>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56201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a:ln>
                  <a:noFill/>
                </a:ln>
                <a:solidFill>
                  <a:schemeClr val="bg1"/>
                </a:solidFill>
                <a:effectLst/>
                <a:uLnTx/>
                <a:uFillTx/>
                <a:latin typeface="+mn-lt"/>
                <a:ea typeface="+mn-ea"/>
                <a:cs typeface="+mn-cs"/>
              </a:rPr>
              <a:t>GET TH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FUTURE</a:t>
            </a:r>
            <a:br>
              <a:rPr kumimoji="0" lang="en-GB" sz="8000" b="1" i="0" u="none" strike="noStrike" kern="1200" cap="all" spc="0" normalizeH="0" baseline="0" noProof="0">
                <a:ln>
                  <a:noFill/>
                </a:ln>
                <a:solidFill>
                  <a:schemeClr val="bg1"/>
                </a:solidFill>
                <a:effectLst/>
                <a:uLnTx/>
                <a:uFillTx/>
                <a:latin typeface="+mn-lt"/>
                <a:ea typeface="+mn-ea"/>
                <a:cs typeface="+mn-cs"/>
              </a:rPr>
            </a:br>
            <a:r>
              <a:rPr kumimoji="0" lang="en-GB" sz="8000" b="1" i="0" u="none" strike="noStrike" kern="1200" cap="all" spc="0" normalizeH="0" baseline="0" noProof="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111FB987-F9F5-22EB-0008-2FEA348234FA}"/>
              </a:ext>
            </a:extLst>
          </p:cNvPr>
          <p:cNvSpPr txBox="1">
            <a:spLocks/>
          </p:cNvSpPr>
          <p:nvPr/>
        </p:nvSpPr>
        <p:spPr>
          <a:xfrm>
            <a:off x="6536184" y="2492896"/>
            <a:ext cx="3808288" cy="228652"/>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ts val="2000"/>
              </a:lnSpc>
              <a:spcBef>
                <a:spcPts val="0"/>
              </a:spcBef>
              <a:defRPr/>
            </a:pPr>
            <a:r>
              <a:rPr lang="en-US" sz="1400" cap="none">
                <a:solidFill>
                  <a:schemeClr val="bg1"/>
                </a:solidFill>
                <a:latin typeface="Ubuntu" panose="020B0504030602030204" pitchFamily="34" charset="0"/>
              </a:rPr>
              <a:t>About Capgemini  Engineering</a:t>
            </a:r>
          </a:p>
        </p:txBody>
      </p:sp>
      <p:sp>
        <p:nvSpPr>
          <p:cNvPr id="3" name="Rectangle 2">
            <a:extLst>
              <a:ext uri="{FF2B5EF4-FFF2-40B4-BE49-F238E27FC236}">
                <a16:creationId xmlns:a16="http://schemas.microsoft.com/office/drawing/2014/main" id="{080BABBA-409B-E6E5-82AB-4EF16C630957}"/>
              </a:ext>
            </a:extLst>
          </p:cNvPr>
          <p:cNvSpPr/>
          <p:nvPr/>
        </p:nvSpPr>
        <p:spPr>
          <a:xfrm>
            <a:off x="6536185" y="2872160"/>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effectLst/>
                <a:latin typeface="Ubuntu Light" panose="020B0304030602030204" pitchFamily="34" charset="0"/>
                <a:ea typeface="Verdana" panose="020B0604030504040204" pitchFamily="34" charset="0"/>
              </a:rPr>
              <a:t>World leader in engineering and R&amp;D services, Capgemini Engineering combines its broad industry knowledge and cutting-edge technologies in digital and software to support the convergence of the physical and digital worlds. Coupled with the capabilities of the rest of the Group, it helps clients to accelerate their journey towards Intelligent Industry. Capgemini Engineering has more than 55,000 engineer and scientist team members in over 30 countries across sectors including Aeronautics, Space, Defense, Naval, Automotive, Rail, Infrastructure &amp; Transportation, Energy, Utilities &amp; Chemicals, Life Sciences, Communications, Semiconductor &amp; Electronics, Industrial &amp; Consumer, Software &amp; Internet.</a:t>
            </a:r>
          </a:p>
          <a:p>
            <a:pPr algn="just">
              <a:lnSpc>
                <a:spcPct val="115000"/>
              </a:lnSpc>
            </a:pPr>
            <a:r>
              <a:rPr lang="en-US" sz="900" i="1">
                <a:effectLst/>
                <a:latin typeface="Ubuntu Light" panose="020B0304030602030204" pitchFamily="34" charset="0"/>
                <a:ea typeface="Verdana" panose="020B0604030504040204" pitchFamily="34" charset="0"/>
              </a:rPr>
              <a:t> </a:t>
            </a:r>
            <a:endParaRPr lang="en-US" sz="900">
              <a:effectLst/>
              <a:latin typeface="Ubuntu Light" panose="020B0304030602030204" pitchFamily="34" charset="0"/>
              <a:ea typeface="Verdana" panose="020B0604030504040204" pitchFamily="34" charset="0"/>
            </a:endParaRPr>
          </a:p>
          <a:p>
            <a:pPr algn="just"/>
            <a:r>
              <a:rPr lang="en-US" sz="900">
                <a:effectLst/>
                <a:latin typeface="Ubuntu Light" panose="020B0304030602030204" pitchFamily="34" charset="0"/>
                <a:ea typeface="Verdana" panose="020B0604030504040204" pitchFamily="34" charset="0"/>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over 36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2 global revenues of €22 billion.</a:t>
            </a:r>
          </a:p>
        </p:txBody>
      </p:sp>
      <p:sp>
        <p:nvSpPr>
          <p:cNvPr id="4" name="Rectangle 3">
            <a:extLst>
              <a:ext uri="{FF2B5EF4-FFF2-40B4-BE49-F238E27FC236}">
                <a16:creationId xmlns:a16="http://schemas.microsoft.com/office/drawing/2014/main" id="{33E37EC7-17A6-3248-A058-5646EC788494}"/>
              </a:ext>
            </a:extLst>
          </p:cNvPr>
          <p:cNvSpPr/>
          <p:nvPr/>
        </p:nvSpPr>
        <p:spPr>
          <a:xfrm>
            <a:off x="6536184" y="580526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57E82-400B-ADE9-4C01-9483B2B110B5}"/>
              </a:ext>
            </a:extLst>
          </p:cNvPr>
          <p:cNvSpPr>
            <a:spLocks noGrp="1"/>
          </p:cNvSpPr>
          <p:nvPr>
            <p:ph type="title"/>
          </p:nvPr>
        </p:nvSpPr>
        <p:spPr>
          <a:xfrm>
            <a:off x="404813" y="388188"/>
            <a:ext cx="10947772" cy="716711"/>
          </a:xfrm>
        </p:spPr>
        <p:txBody>
          <a:bodyPr anchor="ctr">
            <a:normAutofit/>
          </a:bodyPr>
          <a:lstStyle/>
          <a:p>
            <a:r>
              <a:rPr lang="en-IN" b="1" dirty="0"/>
              <a:t>System Architecture Overview</a:t>
            </a:r>
            <a:br>
              <a:rPr lang="en-IN" b="1" dirty="0"/>
            </a:br>
            <a:endParaRPr lang="en-IN" dirty="0"/>
          </a:p>
        </p:txBody>
      </p:sp>
      <p:graphicFrame>
        <p:nvGraphicFramePr>
          <p:cNvPr id="7" name="Text Placeholder 2">
            <a:extLst>
              <a:ext uri="{FF2B5EF4-FFF2-40B4-BE49-F238E27FC236}">
                <a16:creationId xmlns:a16="http://schemas.microsoft.com/office/drawing/2014/main" id="{303DFC2D-3821-60B1-1689-7D578DC2EB48}"/>
              </a:ext>
            </a:extLst>
          </p:cNvPr>
          <p:cNvGraphicFramePr/>
          <p:nvPr>
            <p:extLst>
              <p:ext uri="{D42A27DB-BD31-4B8C-83A1-F6EECF244321}">
                <p14:modId xmlns:p14="http://schemas.microsoft.com/office/powerpoint/2010/main" val="693387895"/>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41506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718C7D6-E89F-7CB8-93B3-1E603ED17219}"/>
              </a:ext>
            </a:extLst>
          </p:cNvPr>
          <p:cNvSpPr>
            <a:spLocks noGrp="1"/>
          </p:cNvSpPr>
          <p:nvPr>
            <p:ph type="title"/>
          </p:nvPr>
        </p:nvSpPr>
        <p:spPr>
          <a:xfrm>
            <a:off x="404813" y="388188"/>
            <a:ext cx="10947772" cy="716711"/>
          </a:xfrm>
        </p:spPr>
        <p:txBody>
          <a:bodyPr anchor="ctr">
            <a:normAutofit/>
          </a:bodyPr>
          <a:lstStyle/>
          <a:p>
            <a:r>
              <a:rPr lang="en-IN" b="1" dirty="0"/>
              <a:t>System Architecture Overview</a:t>
            </a:r>
            <a:br>
              <a:rPr lang="en-IN" b="1" dirty="0"/>
            </a:br>
            <a:endParaRPr lang="en-IN" dirty="0"/>
          </a:p>
        </p:txBody>
      </p:sp>
      <p:graphicFrame>
        <p:nvGraphicFramePr>
          <p:cNvPr id="7" name="Text Placeholder 2">
            <a:extLst>
              <a:ext uri="{FF2B5EF4-FFF2-40B4-BE49-F238E27FC236}">
                <a16:creationId xmlns:a16="http://schemas.microsoft.com/office/drawing/2014/main" id="{B56437D9-6DAE-04ED-295E-6EACC27DD18B}"/>
              </a:ext>
            </a:extLst>
          </p:cNvPr>
          <p:cNvGraphicFramePr/>
          <p:nvPr>
            <p:extLst>
              <p:ext uri="{D42A27DB-BD31-4B8C-83A1-F6EECF244321}">
                <p14:modId xmlns:p14="http://schemas.microsoft.com/office/powerpoint/2010/main" val="1597303542"/>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300739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A566E-62CC-E55C-47FD-5C28F6E47721}"/>
              </a:ext>
            </a:extLst>
          </p:cNvPr>
          <p:cNvSpPr>
            <a:spLocks noGrp="1"/>
          </p:cNvSpPr>
          <p:nvPr>
            <p:ph type="title"/>
          </p:nvPr>
        </p:nvSpPr>
        <p:spPr/>
        <p:txBody>
          <a:bodyPr/>
          <a:lstStyle/>
          <a:p>
            <a:r>
              <a:rPr lang="en-US" dirty="0"/>
              <a:t>Chunking techniques used</a:t>
            </a:r>
            <a:endParaRPr lang="en-IN" dirty="0"/>
          </a:p>
        </p:txBody>
      </p:sp>
      <p:graphicFrame>
        <p:nvGraphicFramePr>
          <p:cNvPr id="3" name="Table 2">
            <a:extLst>
              <a:ext uri="{FF2B5EF4-FFF2-40B4-BE49-F238E27FC236}">
                <a16:creationId xmlns:a16="http://schemas.microsoft.com/office/drawing/2014/main" id="{15EAFB5E-C033-B53A-2CEF-C901B130FAAE}"/>
              </a:ext>
            </a:extLst>
          </p:cNvPr>
          <p:cNvGraphicFramePr>
            <a:graphicFrameLocks noGrp="1"/>
          </p:cNvGraphicFramePr>
          <p:nvPr>
            <p:extLst>
              <p:ext uri="{D42A27DB-BD31-4B8C-83A1-F6EECF244321}">
                <p14:modId xmlns:p14="http://schemas.microsoft.com/office/powerpoint/2010/main" val="2118539492"/>
              </p:ext>
            </p:extLst>
          </p:nvPr>
        </p:nvGraphicFramePr>
        <p:xfrm>
          <a:off x="404813" y="1214666"/>
          <a:ext cx="11384416" cy="5208385"/>
        </p:xfrm>
        <a:graphic>
          <a:graphicData uri="http://schemas.openxmlformats.org/drawingml/2006/table">
            <a:tbl>
              <a:tblPr/>
              <a:tblGrid>
                <a:gridCol w="2846104">
                  <a:extLst>
                    <a:ext uri="{9D8B030D-6E8A-4147-A177-3AD203B41FA5}">
                      <a16:colId xmlns:a16="http://schemas.microsoft.com/office/drawing/2014/main" val="2165471853"/>
                    </a:ext>
                  </a:extLst>
                </a:gridCol>
                <a:gridCol w="2846104">
                  <a:extLst>
                    <a:ext uri="{9D8B030D-6E8A-4147-A177-3AD203B41FA5}">
                      <a16:colId xmlns:a16="http://schemas.microsoft.com/office/drawing/2014/main" val="2218490953"/>
                    </a:ext>
                  </a:extLst>
                </a:gridCol>
                <a:gridCol w="2846104">
                  <a:extLst>
                    <a:ext uri="{9D8B030D-6E8A-4147-A177-3AD203B41FA5}">
                      <a16:colId xmlns:a16="http://schemas.microsoft.com/office/drawing/2014/main" val="3257983051"/>
                    </a:ext>
                  </a:extLst>
                </a:gridCol>
                <a:gridCol w="2846104">
                  <a:extLst>
                    <a:ext uri="{9D8B030D-6E8A-4147-A177-3AD203B41FA5}">
                      <a16:colId xmlns:a16="http://schemas.microsoft.com/office/drawing/2014/main" val="4232992905"/>
                    </a:ext>
                  </a:extLst>
                </a:gridCol>
              </a:tblGrid>
              <a:tr h="220884">
                <a:tc>
                  <a:txBody>
                    <a:bodyPr/>
                    <a:lstStyle/>
                    <a:p>
                      <a:r>
                        <a:rPr lang="en-IN" sz="1400" b="1" dirty="0" err="1"/>
                        <a:t>Chunker</a:t>
                      </a:r>
                      <a:r>
                        <a:rPr lang="en-IN" sz="1400" b="1" dirty="0"/>
                        <a:t> Type</a:t>
                      </a:r>
                      <a:endParaRPr lang="en-IN" sz="1400" dirty="0"/>
                    </a:p>
                  </a:txBody>
                  <a:tcPr marL="55221" marR="55221" marT="27611" marB="27611" anchor="ctr">
                    <a:lnL>
                      <a:noFill/>
                    </a:lnL>
                    <a:lnR>
                      <a:noFill/>
                    </a:lnR>
                    <a:lnT>
                      <a:noFill/>
                    </a:lnT>
                    <a:lnB>
                      <a:noFill/>
                    </a:lnB>
                    <a:noFill/>
                  </a:tcPr>
                </a:tc>
                <a:tc>
                  <a:txBody>
                    <a:bodyPr/>
                    <a:lstStyle/>
                    <a:p>
                      <a:r>
                        <a:rPr lang="en-IN" sz="1400" b="1"/>
                        <a:t>Definition / Approach</a:t>
                      </a:r>
                      <a:endParaRPr lang="en-IN" sz="1400"/>
                    </a:p>
                  </a:txBody>
                  <a:tcPr marL="55221" marR="55221" marT="27611" marB="27611" anchor="ctr">
                    <a:lnL>
                      <a:noFill/>
                    </a:lnL>
                    <a:lnR>
                      <a:noFill/>
                    </a:lnR>
                    <a:lnT>
                      <a:noFill/>
                    </a:lnT>
                    <a:lnB>
                      <a:noFill/>
                    </a:lnB>
                    <a:noFill/>
                  </a:tcPr>
                </a:tc>
                <a:tc>
                  <a:txBody>
                    <a:bodyPr/>
                    <a:lstStyle/>
                    <a:p>
                      <a:r>
                        <a:rPr lang="en-IN" sz="1400" b="1"/>
                        <a:t>Pros</a:t>
                      </a:r>
                      <a:endParaRPr lang="en-IN" sz="1400"/>
                    </a:p>
                  </a:txBody>
                  <a:tcPr marL="55221" marR="55221" marT="27611" marB="27611" anchor="ctr">
                    <a:lnL>
                      <a:noFill/>
                    </a:lnL>
                    <a:lnR>
                      <a:noFill/>
                    </a:lnR>
                    <a:lnT>
                      <a:noFill/>
                    </a:lnT>
                    <a:lnB>
                      <a:noFill/>
                    </a:lnB>
                    <a:noFill/>
                  </a:tcPr>
                </a:tc>
                <a:tc>
                  <a:txBody>
                    <a:bodyPr/>
                    <a:lstStyle/>
                    <a:p>
                      <a:r>
                        <a:rPr lang="en-IN" sz="1400" b="1"/>
                        <a:t>Cons</a:t>
                      </a:r>
                      <a:endParaRPr lang="en-IN" sz="1400"/>
                    </a:p>
                  </a:txBody>
                  <a:tcPr marL="55221" marR="55221" marT="27611" marB="27611" anchor="ctr">
                    <a:lnL>
                      <a:noFill/>
                    </a:lnL>
                    <a:lnR>
                      <a:noFill/>
                    </a:lnR>
                    <a:lnT>
                      <a:noFill/>
                    </a:lnT>
                    <a:lnB>
                      <a:noFill/>
                    </a:lnB>
                    <a:noFill/>
                  </a:tcPr>
                </a:tc>
                <a:extLst>
                  <a:ext uri="{0D108BD9-81ED-4DB2-BD59-A6C34878D82A}">
                    <a16:rowId xmlns:a16="http://schemas.microsoft.com/office/drawing/2014/main" val="549754856"/>
                  </a:ext>
                </a:extLst>
              </a:tr>
              <a:tr h="1546191">
                <a:tc>
                  <a:txBody>
                    <a:bodyPr/>
                    <a:lstStyle/>
                    <a:p>
                      <a:r>
                        <a:rPr lang="en-IN" sz="1400" b="1"/>
                        <a:t>Agentic Chunker</a:t>
                      </a:r>
                      <a:endParaRPr lang="en-IN" sz="1400"/>
                    </a:p>
                  </a:txBody>
                  <a:tcPr marL="55221" marR="55221" marT="27611" marB="27611" anchor="ctr">
                    <a:lnL>
                      <a:noFill/>
                    </a:lnL>
                    <a:lnR>
                      <a:noFill/>
                    </a:lnR>
                    <a:lnT>
                      <a:noFill/>
                    </a:lnT>
                    <a:lnB>
                      <a:noFill/>
                    </a:lnB>
                    <a:noFill/>
                  </a:tcPr>
                </a:tc>
                <a:tc>
                  <a:txBody>
                    <a:bodyPr/>
                    <a:lstStyle/>
                    <a:p>
                      <a:r>
                        <a:rPr lang="en-US" sz="1400" dirty="0"/>
                        <a:t>- Leverages an "agent" (often an LLM or rule-based system) to decide how to split text - Dynamically adjusts chunk size/structure based on context, content, or even user instructions</a:t>
                      </a:r>
                    </a:p>
                  </a:txBody>
                  <a:tcPr marL="55221" marR="55221" marT="27611" marB="27611" anchor="ctr">
                    <a:lnL>
                      <a:noFill/>
                    </a:lnL>
                    <a:lnR>
                      <a:noFill/>
                    </a:lnR>
                    <a:lnT>
                      <a:noFill/>
                    </a:lnT>
                    <a:lnB>
                      <a:noFill/>
                    </a:lnB>
                    <a:noFill/>
                  </a:tcPr>
                </a:tc>
                <a:tc>
                  <a:txBody>
                    <a:bodyPr/>
                    <a:lstStyle/>
                    <a:p>
                      <a:r>
                        <a:rPr lang="en-US" sz="1400" dirty="0"/>
                        <a:t>- Flexible, can be customized per domain - Potentially more "intelligent" splits</a:t>
                      </a:r>
                    </a:p>
                  </a:txBody>
                  <a:tcPr marL="55221" marR="55221" marT="27611" marB="27611" anchor="ctr">
                    <a:lnL>
                      <a:noFill/>
                    </a:lnL>
                    <a:lnR>
                      <a:noFill/>
                    </a:lnR>
                    <a:lnT>
                      <a:noFill/>
                    </a:lnT>
                    <a:lnB>
                      <a:noFill/>
                    </a:lnB>
                    <a:noFill/>
                  </a:tcPr>
                </a:tc>
                <a:tc>
                  <a:txBody>
                    <a:bodyPr/>
                    <a:lstStyle/>
                    <a:p>
                      <a:r>
                        <a:rPr lang="en-US" sz="1400" dirty="0"/>
                        <a:t>- May require more computation (e.g. calling an LLM repeatedly) - Could be slower or costlier</a:t>
                      </a:r>
                    </a:p>
                  </a:txBody>
                  <a:tcPr marL="55221" marR="55221" marT="27611" marB="27611" anchor="ctr">
                    <a:lnL>
                      <a:noFill/>
                    </a:lnL>
                    <a:lnR>
                      <a:noFill/>
                    </a:lnR>
                    <a:lnT>
                      <a:noFill/>
                    </a:lnT>
                    <a:lnB>
                      <a:noFill/>
                    </a:lnB>
                    <a:noFill/>
                  </a:tcPr>
                </a:tc>
                <a:extLst>
                  <a:ext uri="{0D108BD9-81ED-4DB2-BD59-A6C34878D82A}">
                    <a16:rowId xmlns:a16="http://schemas.microsoft.com/office/drawing/2014/main" val="2110102931"/>
                  </a:ext>
                </a:extLst>
              </a:tr>
              <a:tr h="883538">
                <a:tc>
                  <a:txBody>
                    <a:bodyPr/>
                    <a:lstStyle/>
                    <a:p>
                      <a:r>
                        <a:rPr lang="en-IN" sz="1400" b="1"/>
                        <a:t>Recursive Chunker</a:t>
                      </a:r>
                      <a:endParaRPr lang="en-IN" sz="1400"/>
                    </a:p>
                  </a:txBody>
                  <a:tcPr marL="55221" marR="55221" marT="27611" marB="27611" anchor="ctr">
                    <a:lnL>
                      <a:noFill/>
                    </a:lnL>
                    <a:lnR>
                      <a:noFill/>
                    </a:lnR>
                    <a:lnT>
                      <a:noFill/>
                    </a:lnT>
                    <a:lnB>
                      <a:noFill/>
                    </a:lnB>
                    <a:noFill/>
                  </a:tcPr>
                </a:tc>
                <a:tc>
                  <a:txBody>
                    <a:bodyPr/>
                    <a:lstStyle/>
                    <a:p>
                      <a:r>
                        <a:rPr lang="en-US" sz="1400" dirty="0"/>
                        <a:t>- Splits text by headings/sections - Continues recursively until each chunk is below a threshold</a:t>
                      </a:r>
                    </a:p>
                  </a:txBody>
                  <a:tcPr marL="55221" marR="55221" marT="27611" marB="27611" anchor="ctr">
                    <a:lnL>
                      <a:noFill/>
                    </a:lnL>
                    <a:lnR>
                      <a:noFill/>
                    </a:lnR>
                    <a:lnT>
                      <a:noFill/>
                    </a:lnT>
                    <a:lnB>
                      <a:noFill/>
                    </a:lnB>
                    <a:noFill/>
                  </a:tcPr>
                </a:tc>
                <a:tc>
                  <a:txBody>
                    <a:bodyPr/>
                    <a:lstStyle/>
                    <a:p>
                      <a:r>
                        <a:rPr lang="en-US" sz="1400" dirty="0"/>
                        <a:t>- Preserves structural hierarchy - Good for documents with headings/subheadings</a:t>
                      </a:r>
                    </a:p>
                  </a:txBody>
                  <a:tcPr marL="55221" marR="55221" marT="27611" marB="27611" anchor="ctr">
                    <a:lnL>
                      <a:noFill/>
                    </a:lnL>
                    <a:lnR>
                      <a:noFill/>
                    </a:lnR>
                    <a:lnT>
                      <a:noFill/>
                    </a:lnT>
                    <a:lnB>
                      <a:noFill/>
                    </a:lnB>
                    <a:noFill/>
                  </a:tcPr>
                </a:tc>
                <a:tc>
                  <a:txBody>
                    <a:bodyPr/>
                    <a:lstStyle/>
                    <a:p>
                      <a:r>
                        <a:rPr lang="en-US" sz="1400" dirty="0"/>
                        <a:t>- Can yield uneven chunk sizes - Large sections may still need multiple passes</a:t>
                      </a:r>
                    </a:p>
                  </a:txBody>
                  <a:tcPr marL="55221" marR="55221" marT="27611" marB="27611" anchor="ctr">
                    <a:lnL>
                      <a:noFill/>
                    </a:lnL>
                    <a:lnR>
                      <a:noFill/>
                    </a:lnR>
                    <a:lnT>
                      <a:noFill/>
                    </a:lnT>
                    <a:lnB>
                      <a:noFill/>
                    </a:lnB>
                    <a:noFill/>
                  </a:tcPr>
                </a:tc>
                <a:extLst>
                  <a:ext uri="{0D108BD9-81ED-4DB2-BD59-A6C34878D82A}">
                    <a16:rowId xmlns:a16="http://schemas.microsoft.com/office/drawing/2014/main" val="3331875674"/>
                  </a:ext>
                </a:extLst>
              </a:tr>
              <a:tr h="883538">
                <a:tc>
                  <a:txBody>
                    <a:bodyPr/>
                    <a:lstStyle/>
                    <a:p>
                      <a:r>
                        <a:rPr lang="en-IN" sz="1400" b="1"/>
                        <a:t>Semantic Chunker</a:t>
                      </a:r>
                      <a:endParaRPr lang="en-IN" sz="1400"/>
                    </a:p>
                  </a:txBody>
                  <a:tcPr marL="55221" marR="55221" marT="27611" marB="27611" anchor="ctr">
                    <a:lnL>
                      <a:noFill/>
                    </a:lnL>
                    <a:lnR>
                      <a:noFill/>
                    </a:lnR>
                    <a:lnT>
                      <a:noFill/>
                    </a:lnT>
                    <a:lnB>
                      <a:noFill/>
                    </a:lnB>
                    <a:noFill/>
                  </a:tcPr>
                </a:tc>
                <a:tc>
                  <a:txBody>
                    <a:bodyPr/>
                    <a:lstStyle/>
                    <a:p>
                      <a:r>
                        <a:rPr lang="en-US" sz="1400" dirty="0"/>
                        <a:t>- Splits text based on semantic coherence or topic boundaries - Identifies "topic shifts" to form chunk boundaries</a:t>
                      </a:r>
                    </a:p>
                  </a:txBody>
                  <a:tcPr marL="55221" marR="55221" marT="27611" marB="27611" anchor="ctr">
                    <a:lnL>
                      <a:noFill/>
                    </a:lnL>
                    <a:lnR>
                      <a:noFill/>
                    </a:lnR>
                    <a:lnT>
                      <a:noFill/>
                    </a:lnT>
                    <a:lnB>
                      <a:noFill/>
                    </a:lnB>
                    <a:noFill/>
                  </a:tcPr>
                </a:tc>
                <a:tc>
                  <a:txBody>
                    <a:bodyPr/>
                    <a:lstStyle/>
                    <a:p>
                      <a:r>
                        <a:rPr lang="en-US" sz="1400" dirty="0"/>
                        <a:t>- Natural grouping around meaning - Potentially better retrieval relevance</a:t>
                      </a:r>
                    </a:p>
                  </a:txBody>
                  <a:tcPr marL="55221" marR="55221" marT="27611" marB="27611" anchor="ctr">
                    <a:lnL>
                      <a:noFill/>
                    </a:lnL>
                    <a:lnR>
                      <a:noFill/>
                    </a:lnR>
                    <a:lnT>
                      <a:noFill/>
                    </a:lnT>
                    <a:lnB>
                      <a:noFill/>
                    </a:lnB>
                    <a:noFill/>
                  </a:tcPr>
                </a:tc>
                <a:tc>
                  <a:txBody>
                    <a:bodyPr/>
                    <a:lstStyle/>
                    <a:p>
                      <a:r>
                        <a:rPr lang="en-US" sz="1400" dirty="0"/>
                        <a:t>- Requires a semantic model or NLP technique - Complexity in detecting topic changes</a:t>
                      </a:r>
                    </a:p>
                  </a:txBody>
                  <a:tcPr marL="55221" marR="55221" marT="27611" marB="27611" anchor="ctr">
                    <a:lnL>
                      <a:noFill/>
                    </a:lnL>
                    <a:lnR>
                      <a:noFill/>
                    </a:lnR>
                    <a:lnT>
                      <a:noFill/>
                    </a:lnT>
                    <a:lnB>
                      <a:noFill/>
                    </a:lnB>
                    <a:noFill/>
                  </a:tcPr>
                </a:tc>
                <a:extLst>
                  <a:ext uri="{0D108BD9-81ED-4DB2-BD59-A6C34878D82A}">
                    <a16:rowId xmlns:a16="http://schemas.microsoft.com/office/drawing/2014/main" val="2757545757"/>
                  </a:ext>
                </a:extLst>
              </a:tr>
              <a:tr h="717874">
                <a:tc>
                  <a:txBody>
                    <a:bodyPr/>
                    <a:lstStyle/>
                    <a:p>
                      <a:r>
                        <a:rPr lang="en-IN" sz="1400" b="1"/>
                        <a:t>Sentence Chunker</a:t>
                      </a:r>
                      <a:endParaRPr lang="en-IN" sz="1400"/>
                    </a:p>
                  </a:txBody>
                  <a:tcPr marL="55221" marR="55221" marT="27611" marB="27611" anchor="ctr">
                    <a:lnL>
                      <a:noFill/>
                    </a:lnL>
                    <a:lnR>
                      <a:noFill/>
                    </a:lnR>
                    <a:lnT>
                      <a:noFill/>
                    </a:lnT>
                    <a:lnB>
                      <a:noFill/>
                    </a:lnB>
                    <a:noFill/>
                  </a:tcPr>
                </a:tc>
                <a:tc>
                  <a:txBody>
                    <a:bodyPr/>
                    <a:lstStyle/>
                    <a:p>
                      <a:r>
                        <a:rPr lang="en-US" sz="1400"/>
                        <a:t>- Splits text at sentence boundaries</a:t>
                      </a:r>
                    </a:p>
                  </a:txBody>
                  <a:tcPr marL="55221" marR="55221" marT="27611" marB="27611" anchor="ctr">
                    <a:lnL>
                      <a:noFill/>
                    </a:lnL>
                    <a:lnR>
                      <a:noFill/>
                    </a:lnR>
                    <a:lnT>
                      <a:noFill/>
                    </a:lnT>
                    <a:lnB>
                      <a:noFill/>
                    </a:lnB>
                    <a:noFill/>
                  </a:tcPr>
                </a:tc>
                <a:tc>
                  <a:txBody>
                    <a:bodyPr/>
                    <a:lstStyle/>
                    <a:p>
                      <a:r>
                        <a:rPr lang="en-US" sz="1400" dirty="0"/>
                        <a:t>- Very straightforward - Preserves sentence-level meaning</a:t>
                      </a:r>
                    </a:p>
                  </a:txBody>
                  <a:tcPr marL="55221" marR="55221" marT="27611" marB="27611" anchor="ctr">
                    <a:lnL>
                      <a:noFill/>
                    </a:lnL>
                    <a:lnR>
                      <a:noFill/>
                    </a:lnR>
                    <a:lnT>
                      <a:noFill/>
                    </a:lnT>
                    <a:lnB>
                      <a:noFill/>
                    </a:lnB>
                    <a:noFill/>
                  </a:tcPr>
                </a:tc>
                <a:tc>
                  <a:txBody>
                    <a:bodyPr/>
                    <a:lstStyle/>
                    <a:p>
                      <a:r>
                        <a:rPr lang="en-US" sz="1400" dirty="0"/>
                        <a:t>- Sentences can vary in length - Might lose broader context if sentences are very short</a:t>
                      </a:r>
                    </a:p>
                  </a:txBody>
                  <a:tcPr marL="55221" marR="55221" marT="27611" marB="27611" anchor="ctr">
                    <a:lnL>
                      <a:noFill/>
                    </a:lnL>
                    <a:lnR>
                      <a:noFill/>
                    </a:lnR>
                    <a:lnT>
                      <a:noFill/>
                    </a:lnT>
                    <a:lnB>
                      <a:noFill/>
                    </a:lnB>
                    <a:noFill/>
                  </a:tcPr>
                </a:tc>
                <a:extLst>
                  <a:ext uri="{0D108BD9-81ED-4DB2-BD59-A6C34878D82A}">
                    <a16:rowId xmlns:a16="http://schemas.microsoft.com/office/drawing/2014/main" val="1852276044"/>
                  </a:ext>
                </a:extLst>
              </a:tr>
              <a:tr h="883538">
                <a:tc>
                  <a:txBody>
                    <a:bodyPr/>
                    <a:lstStyle/>
                    <a:p>
                      <a:r>
                        <a:rPr lang="en-IN" sz="1400" b="1"/>
                        <a:t>Token Chunker</a:t>
                      </a:r>
                      <a:endParaRPr lang="en-IN" sz="1400"/>
                    </a:p>
                  </a:txBody>
                  <a:tcPr marL="55221" marR="55221" marT="27611" marB="27611" anchor="ctr">
                    <a:lnL>
                      <a:noFill/>
                    </a:lnL>
                    <a:lnR>
                      <a:noFill/>
                    </a:lnR>
                    <a:lnT>
                      <a:noFill/>
                    </a:lnT>
                    <a:lnB>
                      <a:noFill/>
                    </a:lnB>
                    <a:noFill/>
                  </a:tcPr>
                </a:tc>
                <a:tc>
                  <a:txBody>
                    <a:bodyPr/>
                    <a:lstStyle/>
                    <a:p>
                      <a:r>
                        <a:rPr lang="en-US" sz="1400"/>
                        <a:t>- Splits text by a fixed token count (often to match model token limits)</a:t>
                      </a:r>
                    </a:p>
                  </a:txBody>
                  <a:tcPr marL="55221" marR="55221" marT="27611" marB="27611" anchor="ctr">
                    <a:lnL>
                      <a:noFill/>
                    </a:lnL>
                    <a:lnR>
                      <a:noFill/>
                    </a:lnR>
                    <a:lnT>
                      <a:noFill/>
                    </a:lnT>
                    <a:lnB>
                      <a:noFill/>
                    </a:lnB>
                    <a:noFill/>
                  </a:tcPr>
                </a:tc>
                <a:tc>
                  <a:txBody>
                    <a:bodyPr/>
                    <a:lstStyle/>
                    <a:p>
                      <a:r>
                        <a:rPr lang="en-US" sz="1400" dirty="0"/>
                        <a:t>- Predictable chunk size - Straightforward for dealing with LLM constraints</a:t>
                      </a:r>
                    </a:p>
                  </a:txBody>
                  <a:tcPr marL="55221" marR="55221" marT="27611" marB="27611" anchor="ctr">
                    <a:lnL>
                      <a:noFill/>
                    </a:lnL>
                    <a:lnR>
                      <a:noFill/>
                    </a:lnR>
                    <a:lnT>
                      <a:noFill/>
                    </a:lnT>
                    <a:lnB>
                      <a:noFill/>
                    </a:lnB>
                    <a:noFill/>
                  </a:tcPr>
                </a:tc>
                <a:tc>
                  <a:txBody>
                    <a:bodyPr/>
                    <a:lstStyle/>
                    <a:p>
                      <a:r>
                        <a:rPr lang="en-US" sz="1400" dirty="0"/>
                        <a:t>- May split in the middle of a sentence or concept - Not always semantically coherent</a:t>
                      </a:r>
                    </a:p>
                  </a:txBody>
                  <a:tcPr marL="55221" marR="55221" marT="27611" marB="27611" anchor="ctr">
                    <a:lnL>
                      <a:noFill/>
                    </a:lnL>
                    <a:lnR>
                      <a:noFill/>
                    </a:lnR>
                    <a:lnT>
                      <a:noFill/>
                    </a:lnT>
                    <a:lnB>
                      <a:noFill/>
                    </a:lnB>
                    <a:noFill/>
                  </a:tcPr>
                </a:tc>
                <a:extLst>
                  <a:ext uri="{0D108BD9-81ED-4DB2-BD59-A6C34878D82A}">
                    <a16:rowId xmlns:a16="http://schemas.microsoft.com/office/drawing/2014/main" val="1540815339"/>
                  </a:ext>
                </a:extLst>
              </a:tr>
            </a:tbl>
          </a:graphicData>
        </a:graphic>
      </p:graphicFrame>
    </p:spTree>
    <p:extLst>
      <p:ext uri="{BB962C8B-B14F-4D97-AF65-F5344CB8AC3E}">
        <p14:creationId xmlns:p14="http://schemas.microsoft.com/office/powerpoint/2010/main" val="16006514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DEB51-F7FB-E212-54DF-BD116ED9E412}"/>
              </a:ext>
            </a:extLst>
          </p:cNvPr>
          <p:cNvSpPr>
            <a:spLocks noGrp="1"/>
          </p:cNvSpPr>
          <p:nvPr>
            <p:ph type="title"/>
          </p:nvPr>
        </p:nvSpPr>
        <p:spPr/>
        <p:txBody>
          <a:bodyPr/>
          <a:lstStyle/>
          <a:p>
            <a:r>
              <a:rPr lang="en-IN" dirty="0"/>
              <a:t>Document Chunking - Comparison Matrix</a:t>
            </a:r>
          </a:p>
        </p:txBody>
      </p:sp>
      <p:graphicFrame>
        <p:nvGraphicFramePr>
          <p:cNvPr id="4" name="Table 3">
            <a:extLst>
              <a:ext uri="{FF2B5EF4-FFF2-40B4-BE49-F238E27FC236}">
                <a16:creationId xmlns:a16="http://schemas.microsoft.com/office/drawing/2014/main" id="{AB1E7237-5FEA-EA55-2BFE-55CFE2A69B22}"/>
              </a:ext>
            </a:extLst>
          </p:cNvPr>
          <p:cNvGraphicFramePr>
            <a:graphicFrameLocks noGrp="1"/>
          </p:cNvGraphicFramePr>
          <p:nvPr>
            <p:extLst>
              <p:ext uri="{D42A27DB-BD31-4B8C-83A1-F6EECF244321}">
                <p14:modId xmlns:p14="http://schemas.microsoft.com/office/powerpoint/2010/main" val="2552429021"/>
              </p:ext>
            </p:extLst>
          </p:nvPr>
        </p:nvGraphicFramePr>
        <p:xfrm>
          <a:off x="404812" y="1654651"/>
          <a:ext cx="11377614" cy="4480560"/>
        </p:xfrm>
        <a:graphic>
          <a:graphicData uri="http://schemas.openxmlformats.org/drawingml/2006/table">
            <a:tbl>
              <a:tblPr/>
              <a:tblGrid>
                <a:gridCol w="1896269">
                  <a:extLst>
                    <a:ext uri="{9D8B030D-6E8A-4147-A177-3AD203B41FA5}">
                      <a16:colId xmlns:a16="http://schemas.microsoft.com/office/drawing/2014/main" val="1744489448"/>
                    </a:ext>
                  </a:extLst>
                </a:gridCol>
                <a:gridCol w="1896269">
                  <a:extLst>
                    <a:ext uri="{9D8B030D-6E8A-4147-A177-3AD203B41FA5}">
                      <a16:colId xmlns:a16="http://schemas.microsoft.com/office/drawing/2014/main" val="1687276420"/>
                    </a:ext>
                  </a:extLst>
                </a:gridCol>
                <a:gridCol w="1896269">
                  <a:extLst>
                    <a:ext uri="{9D8B030D-6E8A-4147-A177-3AD203B41FA5}">
                      <a16:colId xmlns:a16="http://schemas.microsoft.com/office/drawing/2014/main" val="511605743"/>
                    </a:ext>
                  </a:extLst>
                </a:gridCol>
                <a:gridCol w="1896269">
                  <a:extLst>
                    <a:ext uri="{9D8B030D-6E8A-4147-A177-3AD203B41FA5}">
                      <a16:colId xmlns:a16="http://schemas.microsoft.com/office/drawing/2014/main" val="3789655130"/>
                    </a:ext>
                  </a:extLst>
                </a:gridCol>
                <a:gridCol w="1896269">
                  <a:extLst>
                    <a:ext uri="{9D8B030D-6E8A-4147-A177-3AD203B41FA5}">
                      <a16:colId xmlns:a16="http://schemas.microsoft.com/office/drawing/2014/main" val="2602660089"/>
                    </a:ext>
                  </a:extLst>
                </a:gridCol>
                <a:gridCol w="1896269">
                  <a:extLst>
                    <a:ext uri="{9D8B030D-6E8A-4147-A177-3AD203B41FA5}">
                      <a16:colId xmlns:a16="http://schemas.microsoft.com/office/drawing/2014/main" val="3214931018"/>
                    </a:ext>
                  </a:extLst>
                </a:gridCol>
              </a:tblGrid>
              <a:tr h="640080">
                <a:tc>
                  <a:txBody>
                    <a:bodyPr/>
                    <a:lstStyle/>
                    <a:p>
                      <a:r>
                        <a:rPr lang="en-IN" sz="1800">
                          <a:solidFill>
                            <a:schemeClr val="bg1"/>
                          </a:solidFill>
                        </a:rPr>
                        <a:t>Chunker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Token Accura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Semantic Coher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Spe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Memory Us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Best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9382848"/>
                  </a:ext>
                </a:extLst>
              </a:tr>
              <a:tr h="640080">
                <a:tc>
                  <a:txBody>
                    <a:bodyPr/>
                    <a:lstStyle/>
                    <a:p>
                      <a:r>
                        <a:rPr lang="en-IN" sz="1800" b="1">
                          <a:solidFill>
                            <a:schemeClr val="bg1"/>
                          </a:solidFill>
                        </a:rPr>
                        <a:t>Agentic</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General purpo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1027079"/>
                  </a:ext>
                </a:extLst>
              </a:tr>
              <a:tr h="640080">
                <a:tc>
                  <a:txBody>
                    <a:bodyPr/>
                    <a:lstStyle/>
                    <a:p>
                      <a:r>
                        <a:rPr lang="en-IN" sz="1800" b="1" dirty="0">
                          <a:solidFill>
                            <a:schemeClr val="bg1"/>
                          </a:solidFill>
                        </a:rPr>
                        <a:t>Recursive</a:t>
                      </a:r>
                      <a:endParaRPr lang="en-IN" sz="18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ng docu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3432872"/>
                  </a:ext>
                </a:extLst>
              </a:tr>
              <a:tr h="365760">
                <a:tc>
                  <a:txBody>
                    <a:bodyPr/>
                    <a:lstStyle/>
                    <a:p>
                      <a:r>
                        <a:rPr lang="en-IN" sz="1800" b="1">
                          <a:solidFill>
                            <a:schemeClr val="bg1"/>
                          </a:solidFill>
                        </a:rPr>
                        <a:t>Semantic</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Very 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Structured tex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7927049"/>
                  </a:ext>
                </a:extLst>
              </a:tr>
              <a:tr h="640080">
                <a:tc>
                  <a:txBody>
                    <a:bodyPr/>
                    <a:lstStyle/>
                    <a:p>
                      <a:r>
                        <a:rPr lang="en-IN" sz="1800" b="1">
                          <a:solidFill>
                            <a:schemeClr val="bg1"/>
                          </a:solidFill>
                        </a:rPr>
                        <a:t>Sentence</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Q&amp;A appli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8293532"/>
                  </a:ext>
                </a:extLst>
              </a:tr>
              <a:tr h="640080">
                <a:tc>
                  <a:txBody>
                    <a:bodyPr/>
                    <a:lstStyle/>
                    <a:p>
                      <a:r>
                        <a:rPr lang="en-IN" sz="1800" b="1">
                          <a:solidFill>
                            <a:schemeClr val="bg1"/>
                          </a:solidFill>
                        </a:rPr>
                        <a:t>Token</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Very 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LM input prepa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828963"/>
                  </a:ext>
                </a:extLst>
              </a:tr>
              <a:tr h="914400">
                <a:tc>
                  <a:txBody>
                    <a:bodyPr/>
                    <a:lstStyle/>
                    <a:p>
                      <a:r>
                        <a:rPr lang="en-IN" sz="1800" b="1">
                          <a:solidFill>
                            <a:schemeClr val="bg1"/>
                          </a:solidFill>
                        </a:rPr>
                        <a:t>Fixed</a:t>
                      </a:r>
                      <a:endParaRPr lang="en-IN" sz="180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N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Very 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Very Fa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1800" dirty="0">
                          <a:solidFill>
                            <a:schemeClr val="bg1"/>
                          </a:solidFill>
                        </a:rPr>
                        <a:t>Simple implemen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0464757"/>
                  </a:ext>
                </a:extLst>
              </a:tr>
            </a:tbl>
          </a:graphicData>
        </a:graphic>
      </p:graphicFrame>
    </p:spTree>
    <p:extLst>
      <p:ext uri="{BB962C8B-B14F-4D97-AF65-F5344CB8AC3E}">
        <p14:creationId xmlns:p14="http://schemas.microsoft.com/office/powerpoint/2010/main" val="1256172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7F53C-4302-45A2-D894-78B9648D0956}"/>
              </a:ext>
            </a:extLst>
          </p:cNvPr>
          <p:cNvSpPr>
            <a:spLocks noGrp="1"/>
          </p:cNvSpPr>
          <p:nvPr>
            <p:ph type="title"/>
          </p:nvPr>
        </p:nvSpPr>
        <p:spPr>
          <a:xfrm>
            <a:off x="404813" y="388188"/>
            <a:ext cx="10947772" cy="716711"/>
          </a:xfrm>
        </p:spPr>
        <p:txBody>
          <a:bodyPr anchor="ctr">
            <a:normAutofit/>
          </a:bodyPr>
          <a:lstStyle/>
          <a:p>
            <a:r>
              <a:rPr lang="en-IN" dirty="0"/>
              <a:t>Embedding Models Comparison</a:t>
            </a:r>
          </a:p>
        </p:txBody>
      </p:sp>
      <p:graphicFrame>
        <p:nvGraphicFramePr>
          <p:cNvPr id="5" name="Text Placeholder 2">
            <a:extLst>
              <a:ext uri="{FF2B5EF4-FFF2-40B4-BE49-F238E27FC236}">
                <a16:creationId xmlns:a16="http://schemas.microsoft.com/office/drawing/2014/main" id="{01296B4B-67A9-C9BD-CA51-FCEC56DA8597}"/>
              </a:ext>
            </a:extLst>
          </p:cNvPr>
          <p:cNvGraphicFramePr/>
          <p:nvPr>
            <p:extLst>
              <p:ext uri="{D42A27DB-BD31-4B8C-83A1-F6EECF244321}">
                <p14:modId xmlns:p14="http://schemas.microsoft.com/office/powerpoint/2010/main" val="3648876531"/>
              </p:ext>
            </p:extLst>
          </p:nvPr>
        </p:nvGraphicFramePr>
        <p:xfrm>
          <a:off x="404813" y="1295399"/>
          <a:ext cx="10947772"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7289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E0CE3-666C-922D-2B37-6ED5D4CBBEBE}"/>
              </a:ext>
            </a:extLst>
          </p:cNvPr>
          <p:cNvSpPr>
            <a:spLocks noGrp="1"/>
          </p:cNvSpPr>
          <p:nvPr>
            <p:ph type="title"/>
          </p:nvPr>
        </p:nvSpPr>
        <p:spPr/>
        <p:txBody>
          <a:bodyPr/>
          <a:lstStyle/>
          <a:p>
            <a:r>
              <a:rPr lang="en-US" dirty="0">
                <a:solidFill>
                  <a:schemeClr val="bg1"/>
                </a:solidFill>
              </a:rPr>
              <a:t>Embedding models overview </a:t>
            </a:r>
            <a:endParaRPr lang="en-IN" dirty="0">
              <a:solidFill>
                <a:schemeClr val="bg1"/>
              </a:solidFill>
            </a:endParaRPr>
          </a:p>
        </p:txBody>
      </p:sp>
      <p:graphicFrame>
        <p:nvGraphicFramePr>
          <p:cNvPr id="3" name="Table 2">
            <a:extLst>
              <a:ext uri="{FF2B5EF4-FFF2-40B4-BE49-F238E27FC236}">
                <a16:creationId xmlns:a16="http://schemas.microsoft.com/office/drawing/2014/main" id="{0502487A-8888-E400-FB94-A8B456715722}"/>
              </a:ext>
            </a:extLst>
          </p:cNvPr>
          <p:cNvGraphicFramePr>
            <a:graphicFrameLocks noGrp="1"/>
          </p:cNvGraphicFramePr>
          <p:nvPr>
            <p:extLst>
              <p:ext uri="{D42A27DB-BD31-4B8C-83A1-F6EECF244321}">
                <p14:modId xmlns:p14="http://schemas.microsoft.com/office/powerpoint/2010/main" val="1457427017"/>
              </p:ext>
            </p:extLst>
          </p:nvPr>
        </p:nvGraphicFramePr>
        <p:xfrm>
          <a:off x="404812" y="1104900"/>
          <a:ext cx="11395300" cy="5435097"/>
        </p:xfrm>
        <a:graphic>
          <a:graphicData uri="http://schemas.openxmlformats.org/drawingml/2006/table">
            <a:tbl>
              <a:tblPr/>
              <a:tblGrid>
                <a:gridCol w="2279060">
                  <a:extLst>
                    <a:ext uri="{9D8B030D-6E8A-4147-A177-3AD203B41FA5}">
                      <a16:colId xmlns:a16="http://schemas.microsoft.com/office/drawing/2014/main" val="1131800392"/>
                    </a:ext>
                  </a:extLst>
                </a:gridCol>
                <a:gridCol w="2279060">
                  <a:extLst>
                    <a:ext uri="{9D8B030D-6E8A-4147-A177-3AD203B41FA5}">
                      <a16:colId xmlns:a16="http://schemas.microsoft.com/office/drawing/2014/main" val="1230010212"/>
                    </a:ext>
                  </a:extLst>
                </a:gridCol>
                <a:gridCol w="2279060">
                  <a:extLst>
                    <a:ext uri="{9D8B030D-6E8A-4147-A177-3AD203B41FA5}">
                      <a16:colId xmlns:a16="http://schemas.microsoft.com/office/drawing/2014/main" val="4028090079"/>
                    </a:ext>
                  </a:extLst>
                </a:gridCol>
                <a:gridCol w="2279060">
                  <a:extLst>
                    <a:ext uri="{9D8B030D-6E8A-4147-A177-3AD203B41FA5}">
                      <a16:colId xmlns:a16="http://schemas.microsoft.com/office/drawing/2014/main" val="1959847522"/>
                    </a:ext>
                  </a:extLst>
                </a:gridCol>
                <a:gridCol w="2279060">
                  <a:extLst>
                    <a:ext uri="{9D8B030D-6E8A-4147-A177-3AD203B41FA5}">
                      <a16:colId xmlns:a16="http://schemas.microsoft.com/office/drawing/2014/main" val="3968429169"/>
                    </a:ext>
                  </a:extLst>
                </a:gridCol>
              </a:tblGrid>
              <a:tr h="156062">
                <a:tc>
                  <a:txBody>
                    <a:bodyPr/>
                    <a:lstStyle/>
                    <a:p>
                      <a:r>
                        <a:rPr lang="en-IN" sz="800" dirty="0">
                          <a:solidFill>
                            <a:schemeClr val="bg1"/>
                          </a:solidFill>
                        </a:rPr>
                        <a:t>Feature</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E5 Model</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BGE Model</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GTE Model</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MiniLM Model</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7310661"/>
                  </a:ext>
                </a:extLst>
              </a:tr>
              <a:tr h="289433">
                <a:tc>
                  <a:txBody>
                    <a:bodyPr/>
                    <a:lstStyle/>
                    <a:p>
                      <a:r>
                        <a:rPr lang="en-IN" sz="800" b="1">
                          <a:solidFill>
                            <a:schemeClr val="bg1"/>
                          </a:solidFill>
                        </a:rPr>
                        <a:t>Model Name</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intfloat/e5-large-v2</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BAAI/bge-large-en-v1.5</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Alibaba-NLP/gte-large-en-v1.5</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sentence-transformers/all-MiniLM-L6-v2</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8968359"/>
                  </a:ext>
                </a:extLst>
              </a:tr>
              <a:tr h="156062">
                <a:tc>
                  <a:txBody>
                    <a:bodyPr/>
                    <a:lstStyle/>
                    <a:p>
                      <a:r>
                        <a:rPr lang="en-IN" sz="800" b="1">
                          <a:solidFill>
                            <a:schemeClr val="bg1"/>
                          </a:solidFill>
                        </a:rPr>
                        <a:t>Dimension</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1024</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1024</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1024</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384</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4804409"/>
                  </a:ext>
                </a:extLst>
              </a:tr>
              <a:tr h="463094">
                <a:tc>
                  <a:txBody>
                    <a:bodyPr/>
                    <a:lstStyle/>
                    <a:p>
                      <a:r>
                        <a:rPr lang="en-IN" sz="800" b="1">
                          <a:solidFill>
                            <a:schemeClr val="bg1"/>
                          </a:solidFill>
                        </a:rPr>
                        <a:t>Architecture</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Transformer-based sentence encoder with deep bi-directional context understand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Enhanced BERT with contrastive training and improved pooling mechanism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General Text Embeddings model optimized for diverse text represent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Distilled model with reduced parameters derived from larger transformer model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95357461"/>
                  </a:ext>
                </a:extLst>
              </a:tr>
              <a:tr h="463094">
                <a:tc>
                  <a:txBody>
                    <a:bodyPr/>
                    <a:lstStyle/>
                    <a:p>
                      <a:r>
                        <a:rPr lang="en-IN" sz="800" b="1">
                          <a:solidFill>
                            <a:schemeClr val="bg1"/>
                          </a:solidFill>
                        </a:rPr>
                        <a:t>Special Preprocessing</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Adds "passage:" prefix to text for better context fram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Adds retrieval-focused instruction to guide vector represent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None (uses standard preprocessing with traditional tokeniz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None (uses standard preprocessing with efficient tokeniz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115540"/>
                  </a:ext>
                </a:extLst>
              </a:tr>
              <a:tr h="463094">
                <a:tc>
                  <a:txBody>
                    <a:bodyPr/>
                    <a:lstStyle/>
                    <a:p>
                      <a:r>
                        <a:rPr lang="en-IN" sz="800" b="1" dirty="0">
                          <a:solidFill>
                            <a:schemeClr val="bg1"/>
                          </a:solidFill>
                        </a:rPr>
                        <a:t>Input Format</a:t>
                      </a:r>
                      <a:endParaRPr lang="en-IN" sz="800" dirty="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Requires "passage:" prefix for documents and can use "query:" for question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Accepts instruction-prefixed inputs for specialized retrieval</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Standard text input with no special formatt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Standard text input with efficient tokeniz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064129"/>
                  </a:ext>
                </a:extLst>
              </a:tr>
              <a:tr h="463094">
                <a:tc>
                  <a:txBody>
                    <a:bodyPr/>
                    <a:lstStyle/>
                    <a:p>
                      <a:r>
                        <a:rPr lang="en-IN" sz="800" b="1">
                          <a:solidFill>
                            <a:schemeClr val="bg1"/>
                          </a:solidFill>
                        </a:rPr>
                        <a:t>Training Methodology</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Trained on diverse text pairs with contrastive learn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Trained with hard negative mining and contrastive learning objective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Trained on multilingual corpora with cross-lingual alignment</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Knowledge distillation from larger models with performance optimiz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4812524"/>
                  </a:ext>
                </a:extLst>
              </a:tr>
              <a:tr h="376263">
                <a:tc>
                  <a:txBody>
                    <a:bodyPr/>
                    <a:lstStyle/>
                    <a:p>
                      <a:r>
                        <a:rPr lang="en-IN" sz="800" b="1">
                          <a:solidFill>
                            <a:schemeClr val="bg1"/>
                          </a:solidFill>
                        </a:rPr>
                        <a:t>Vector Similarity</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Cosine similarity with well-calibrated threshold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Cosine similarity with strong matching performance</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Cosine or dot product with consistent result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Cosine similarity with efficient computation</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878318"/>
                  </a:ext>
                </a:extLst>
              </a:tr>
              <a:tr h="463094">
                <a:tc>
                  <a:txBody>
                    <a:bodyPr/>
                    <a:lstStyle/>
                    <a:p>
                      <a:r>
                        <a:rPr lang="en-IN" sz="800" b="1">
                          <a:solidFill>
                            <a:schemeClr val="bg1"/>
                          </a:solidFill>
                        </a:rPr>
                        <a:t>Use Cases</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Semantic search, document retrieval, query understand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Precise passage retrieval, instructional matching, similarity search</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a:solidFill>
                            <a:schemeClr val="bg1"/>
                          </a:solidFill>
                        </a:rPr>
                        <a:t>Cross-lingual retrieval, domain-adaptive search, versatile text matching</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a:solidFill>
                            <a:schemeClr val="bg1"/>
                          </a:solidFill>
                        </a:rPr>
                        <a:t>Resource-constrained environments, mobile applications, real-time system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9805296"/>
                  </a:ext>
                </a:extLst>
              </a:tr>
              <a:tr h="1331394">
                <a:tc>
                  <a:txBody>
                    <a:bodyPr/>
                    <a:lstStyle/>
                    <a:p>
                      <a:r>
                        <a:rPr lang="en-IN" sz="800" b="1">
                          <a:solidFill>
                            <a:schemeClr val="bg1"/>
                          </a:solidFill>
                        </a:rPr>
                        <a:t>Strengths</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Strong performance on semantic search tasks • Excellent at understanding query intent • Good balance of accuracy and efficiency • Well-calibrated similarity scores • Robust to minor text variation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dirty="0">
                          <a:solidFill>
                            <a:schemeClr val="bg1"/>
                          </a:solidFill>
                        </a:rPr>
                        <a:t>• Superior performance on similarity matching • Strong on passage retrieval benchmarks • Excellent with instructional prefixes • Good for precise retrieval tasks • Consistent performance on BEIR benchmark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IN" sz="800" dirty="0">
                          <a:solidFill>
                            <a:schemeClr val="bg1"/>
                          </a:solidFill>
                        </a:rPr>
                        <a:t>• Strong multilingual capabilities • Good at capturing cross-lingual semantics • Versatile for different retrieval tasks • Reliable performance across domains • Adaptable to diverse text type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Very efficient computation • Small memory footprint (70% smaller than others) • Fast embedding generation (3-5x faster) • Good for resource-constrained environments • Suitable for edge deployment</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2654445"/>
                  </a:ext>
                </a:extLst>
              </a:tr>
              <a:tr h="810413">
                <a:tc>
                  <a:txBody>
                    <a:bodyPr/>
                    <a:lstStyle/>
                    <a:p>
                      <a:r>
                        <a:rPr lang="en-IN" sz="800" b="1">
                          <a:solidFill>
                            <a:schemeClr val="bg1"/>
                          </a:solidFill>
                        </a:rPr>
                        <a:t>Limitations</a:t>
                      </a:r>
                      <a:endParaRPr lang="en-IN" sz="800">
                        <a:solidFill>
                          <a:schemeClr val="bg1"/>
                        </a:solidFill>
                      </a:endParaRP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Requires specific prefixing • Larger model size than lightweight alternative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Primarily optimized for English • Requires more computational resource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May not match specialized models in specific domains • Medium-sized model with associated compute costs</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a:solidFill>
                            <a:schemeClr val="bg1"/>
                          </a:solidFill>
                        </a:rPr>
                        <a:t>• Lower dimensionality may impact accuracy • Less effective for nuanced semantic tasks • Trade-off of speed vs. performance</a:t>
                      </a:r>
                    </a:p>
                  </a:txBody>
                  <a:tcPr marL="27760" marR="27760" marT="13880" marB="138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0743509"/>
                  </a:ext>
                </a:extLst>
              </a:tr>
            </a:tbl>
          </a:graphicData>
        </a:graphic>
      </p:graphicFrame>
    </p:spTree>
    <p:extLst>
      <p:ext uri="{BB962C8B-B14F-4D97-AF65-F5344CB8AC3E}">
        <p14:creationId xmlns:p14="http://schemas.microsoft.com/office/powerpoint/2010/main" val="102735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73FF7-8A74-CF75-1B6A-5719C73DF991}"/>
              </a:ext>
            </a:extLst>
          </p:cNvPr>
          <p:cNvSpPr>
            <a:spLocks noGrp="1"/>
          </p:cNvSpPr>
          <p:nvPr>
            <p:ph type="title"/>
          </p:nvPr>
        </p:nvSpPr>
        <p:spPr/>
        <p:txBody>
          <a:bodyPr/>
          <a:lstStyle/>
          <a:p>
            <a:r>
              <a:rPr lang="en-IN" dirty="0"/>
              <a:t>Embedding Models - Technical Comparison</a:t>
            </a:r>
          </a:p>
        </p:txBody>
      </p:sp>
      <p:graphicFrame>
        <p:nvGraphicFramePr>
          <p:cNvPr id="5" name="Table 4">
            <a:extLst>
              <a:ext uri="{FF2B5EF4-FFF2-40B4-BE49-F238E27FC236}">
                <a16:creationId xmlns:a16="http://schemas.microsoft.com/office/drawing/2014/main" id="{DDC0B9F2-A302-8535-4997-8C9A24501F39}"/>
              </a:ext>
            </a:extLst>
          </p:cNvPr>
          <p:cNvGraphicFramePr>
            <a:graphicFrameLocks noGrp="1"/>
          </p:cNvGraphicFramePr>
          <p:nvPr>
            <p:extLst>
              <p:ext uri="{D42A27DB-BD31-4B8C-83A1-F6EECF244321}">
                <p14:modId xmlns:p14="http://schemas.microsoft.com/office/powerpoint/2010/main" val="430304357"/>
              </p:ext>
            </p:extLst>
          </p:nvPr>
        </p:nvGraphicFramePr>
        <p:xfrm>
          <a:off x="404813" y="1608931"/>
          <a:ext cx="11377611" cy="4846320"/>
        </p:xfrm>
        <a:graphic>
          <a:graphicData uri="http://schemas.openxmlformats.org/drawingml/2006/table">
            <a:tbl>
              <a:tblPr/>
              <a:tblGrid>
                <a:gridCol w="1625373">
                  <a:extLst>
                    <a:ext uri="{9D8B030D-6E8A-4147-A177-3AD203B41FA5}">
                      <a16:colId xmlns:a16="http://schemas.microsoft.com/office/drawing/2014/main" val="3945317107"/>
                    </a:ext>
                  </a:extLst>
                </a:gridCol>
                <a:gridCol w="1625373">
                  <a:extLst>
                    <a:ext uri="{9D8B030D-6E8A-4147-A177-3AD203B41FA5}">
                      <a16:colId xmlns:a16="http://schemas.microsoft.com/office/drawing/2014/main" val="2013967317"/>
                    </a:ext>
                  </a:extLst>
                </a:gridCol>
                <a:gridCol w="1625373">
                  <a:extLst>
                    <a:ext uri="{9D8B030D-6E8A-4147-A177-3AD203B41FA5}">
                      <a16:colId xmlns:a16="http://schemas.microsoft.com/office/drawing/2014/main" val="719773435"/>
                    </a:ext>
                  </a:extLst>
                </a:gridCol>
                <a:gridCol w="1625373">
                  <a:extLst>
                    <a:ext uri="{9D8B030D-6E8A-4147-A177-3AD203B41FA5}">
                      <a16:colId xmlns:a16="http://schemas.microsoft.com/office/drawing/2014/main" val="3966914775"/>
                    </a:ext>
                  </a:extLst>
                </a:gridCol>
                <a:gridCol w="1625373">
                  <a:extLst>
                    <a:ext uri="{9D8B030D-6E8A-4147-A177-3AD203B41FA5}">
                      <a16:colId xmlns:a16="http://schemas.microsoft.com/office/drawing/2014/main" val="1486469652"/>
                    </a:ext>
                  </a:extLst>
                </a:gridCol>
                <a:gridCol w="1625373">
                  <a:extLst>
                    <a:ext uri="{9D8B030D-6E8A-4147-A177-3AD203B41FA5}">
                      <a16:colId xmlns:a16="http://schemas.microsoft.com/office/drawing/2014/main" val="200120090"/>
                    </a:ext>
                  </a:extLst>
                </a:gridCol>
                <a:gridCol w="1625373">
                  <a:extLst>
                    <a:ext uri="{9D8B030D-6E8A-4147-A177-3AD203B41FA5}">
                      <a16:colId xmlns:a16="http://schemas.microsoft.com/office/drawing/2014/main" val="4172841350"/>
                    </a:ext>
                  </a:extLst>
                </a:gridCol>
              </a:tblGrid>
              <a:tr h="0">
                <a:tc>
                  <a:txBody>
                    <a:bodyPr/>
                    <a:lstStyle/>
                    <a:p>
                      <a:r>
                        <a:rPr lang="en-IN">
                          <a:solidFill>
                            <a:schemeClr val="bg1"/>
                          </a:solidFill>
                        </a:rPr>
                        <a:t>Mod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Dimen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Paramet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Comput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Inference Spe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MTEB Score</a:t>
                      </a:r>
                    </a:p>
                    <a:p>
                      <a:r>
                        <a:rPr lang="en-IN" dirty="0">
                          <a:solidFill>
                            <a:schemeClr val="bg1"/>
                          </a:solidFill>
                        </a:rPr>
                        <a:t>(Massive Text Embedding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BEIR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2605576"/>
                  </a:ext>
                </a:extLst>
              </a:tr>
              <a:tr h="0">
                <a:tc>
                  <a:txBody>
                    <a:bodyPr/>
                    <a:lstStyle/>
                    <a:p>
                      <a:r>
                        <a:rPr lang="en-IN" b="1">
                          <a:solidFill>
                            <a:schemeClr val="bg1"/>
                          </a:solidFill>
                        </a:rPr>
                        <a:t>E5-Large-v2</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335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20 texts/sec (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65.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5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662236"/>
                  </a:ext>
                </a:extLst>
              </a:tr>
              <a:tr h="0">
                <a:tc>
                  <a:txBody>
                    <a:bodyPr/>
                    <a:lstStyle/>
                    <a:p>
                      <a:r>
                        <a:rPr lang="en-IN" b="1" dirty="0">
                          <a:solidFill>
                            <a:schemeClr val="bg1"/>
                          </a:solidFill>
                        </a:rPr>
                        <a:t>BGE-Large-v1.5</a:t>
                      </a:r>
                      <a:endParaRPr lang="en-IN"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335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15 texts/sec (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6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48.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522115"/>
                  </a:ext>
                </a:extLst>
              </a:tr>
              <a:tr h="0">
                <a:tc>
                  <a:txBody>
                    <a:bodyPr/>
                    <a:lstStyle/>
                    <a:p>
                      <a:r>
                        <a:rPr lang="en-IN" b="1">
                          <a:solidFill>
                            <a:schemeClr val="bg1"/>
                          </a:solidFill>
                        </a:rPr>
                        <a:t>GTE-Large</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335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118 texts/sec (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6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4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695155"/>
                  </a:ext>
                </a:extLst>
              </a:tr>
              <a:tr h="0">
                <a:tc>
                  <a:txBody>
                    <a:bodyPr/>
                    <a:lstStyle/>
                    <a:p>
                      <a:r>
                        <a:rPr lang="en-IN" b="1">
                          <a:solidFill>
                            <a:schemeClr val="bg1"/>
                          </a:solidFill>
                        </a:rPr>
                        <a:t>MiniLM-L6-v2</a:t>
                      </a:r>
                      <a:endParaRPr lang="en-IN">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38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22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450 texts/sec (CP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a:solidFill>
                            <a:schemeClr val="bg1"/>
                          </a:solidFill>
                        </a:rPr>
                        <a:t>5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dirty="0">
                          <a:solidFill>
                            <a:schemeClr val="bg1"/>
                          </a:solidFill>
                        </a:rPr>
                        <a:t>4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4896728"/>
                  </a:ext>
                </a:extLst>
              </a:tr>
            </a:tbl>
          </a:graphicData>
        </a:graphic>
      </p:graphicFrame>
    </p:spTree>
    <p:extLst>
      <p:ext uri="{BB962C8B-B14F-4D97-AF65-F5344CB8AC3E}">
        <p14:creationId xmlns:p14="http://schemas.microsoft.com/office/powerpoint/2010/main" val="2673053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Engineering_Standard-Template_2023.pptx" id="{9C04FD74-8640-4F08-A488-05F139585BDB}" vid="{2A426DA5-105F-412B-BD41-6E90B4B5E825}"/>
    </a:ext>
  </a:extLst>
</a:theme>
</file>

<file path=ppt/theme/theme2.xml><?xml version="1.0" encoding="utf-8"?>
<a:theme xmlns:a="http://schemas.openxmlformats.org/drawingml/2006/main" name="5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apgemini-Engineering_MasterTemplate (002).potx  -  Solo lectura" id="{7CC89FBF-A721-4E66-8BEC-E6820BD41CBF}" vid="{B7D2B82A-F07C-4EB1-BEE9-8485FCC7ABB2}"/>
    </a:ext>
  </a:extLst>
</a:theme>
</file>

<file path=ppt/theme/theme3.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4.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Engineering</Entity>
    <Classification xmlns="f1122fed-4606-4ec8-90ef-13536176a38c">Company Public (Sec 0)</Classifi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72AC18-4631-45D3-AFFB-5708452471BC}">
  <ds:schemaRefs>
    <ds:schemaRef ds:uri="83fd27e2-85d6-4e10-9bbd-a3e555ecf21b"/>
    <ds:schemaRef ds:uri="f1122fed-4606-4ec8-90ef-13536176a3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5B55AFD-AAC1-4687-9CD2-D33EC328A125}">
  <ds:schemaRefs>
    <ds:schemaRef ds:uri="83fd27e2-85d6-4e10-9bbd-a3e555ecf21b"/>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terms/"/>
    <ds:schemaRef ds:uri="http://purl.org/dc/elements/1.1/"/>
    <ds:schemaRef ds:uri="f1122fed-4606-4ec8-90ef-13536176a38c"/>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3F7640BB-4DC6-443B-8ECC-1136D31D9E33}">
  <ds:schemaRefs>
    <ds:schemaRef ds:uri="http://schemas.microsoft.com/sharepoint/v3/contenttype/form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
  <TotalTime>7062</TotalTime>
  <Words>3346</Words>
  <Application>Microsoft Office PowerPoint</Application>
  <PresentationFormat>Widescreen</PresentationFormat>
  <Paragraphs>529</Paragraphs>
  <Slides>22</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1" baseType="lpstr">
      <vt:lpstr>Ubuntu</vt:lpstr>
      <vt:lpstr>Wingdings</vt:lpstr>
      <vt:lpstr>Ubuntu Light</vt:lpstr>
      <vt:lpstr>Arial</vt:lpstr>
      <vt:lpstr>Ubuntu Medium</vt:lpstr>
      <vt:lpstr>Capgemini2021</vt:lpstr>
      <vt:lpstr>5_Capgemini Master 2021</vt:lpstr>
      <vt:lpstr>Capgemini Master 2021</vt:lpstr>
      <vt:lpstr>think-cell Slide</vt:lpstr>
      <vt:lpstr>PowerPoint Presentation</vt:lpstr>
      <vt:lpstr>PowerPoint Presentation</vt:lpstr>
      <vt:lpstr>System Architecture Overview </vt:lpstr>
      <vt:lpstr>System Architecture Overview </vt:lpstr>
      <vt:lpstr>Chunking techniques used</vt:lpstr>
      <vt:lpstr>Document Chunking - Comparison Matrix</vt:lpstr>
      <vt:lpstr>Embedding Models Comparison</vt:lpstr>
      <vt:lpstr>Embedding models overview </vt:lpstr>
      <vt:lpstr>Embedding Models - Technical Comparison</vt:lpstr>
      <vt:lpstr>Vector Storage - Overview</vt:lpstr>
      <vt:lpstr>Vector storage overview</vt:lpstr>
      <vt:lpstr>Vector Storage - Technical Comparison Matrix</vt:lpstr>
      <vt:lpstr>Search Algorithms used </vt:lpstr>
      <vt:lpstr>Search Algorithms - Technical Comparison</vt:lpstr>
      <vt:lpstr>Search Algorithms - Performance Benchmarks</vt:lpstr>
      <vt:lpstr>RAG Implementation Types</vt:lpstr>
      <vt:lpstr>Combined Tabular Summary for RAG Types</vt:lpstr>
      <vt:lpstr>RAG Types - Technical Comparison Matrix</vt:lpstr>
      <vt:lpstr>Document Loader - File Format Support</vt:lpstr>
      <vt:lpstr>Document Loader - CSV Processing</vt:lpstr>
      <vt:lpstr>GET THE   FUTURE  YOU WA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TANDARD  Template</dc:title>
  <dc:subject/>
  <dc:creator>Jha, Aditya Narayan</dc:creator>
  <cp:lastModifiedBy>Jha, Aditya Narayan</cp:lastModifiedBy>
  <cp:revision>5</cp:revision>
  <dcterms:created xsi:type="dcterms:W3CDTF">2023-11-02T06:30:56Z</dcterms:created>
  <dcterms:modified xsi:type="dcterms:W3CDTF">2025-03-17T14:11: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